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charts/chart1.xml" ContentType="application/vnd.openxmlformats-officedocument.drawingml.chart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charts/chart2.xml" ContentType="application/vnd.openxmlformats-officedocument.drawingml.chart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charts/chart3.xml" ContentType="application/vnd.openxmlformats-officedocument.drawingml.chart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charts/chart4.xml" ContentType="application/vnd.openxmlformats-officedocument.drawingml.chart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charts/chart5.xml" ContentType="application/vnd.openxmlformats-officedocument.drawingml.chart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charts/chart6.xml" ContentType="application/vnd.openxmlformats-officedocument.drawingml.chart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charts/chart7.xml" ContentType="application/vnd.openxmlformats-officedocument.drawingml.chart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charts/chart8.xml" ContentType="application/vnd.openxmlformats-officedocument.drawingml.chart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charts/chart9.xml" ContentType="application/vnd.openxmlformats-officedocument.drawingml.chart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charts/chart10.xml" ContentType="application/vnd.openxmlformats-officedocument.drawingml.chart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charts/chart11.xml" ContentType="application/vnd.openxmlformats-officedocument.drawingml.chart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charts/chart12.xml" ContentType="application/vnd.openxmlformats-officedocument.drawingml.chart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charts/chart13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4"/>
  </p:sldMasterIdLst>
  <p:sldIdLst>
    <p:sldId id="256" r:id="rId5"/>
    <p:sldId id="258" r:id="rId6"/>
    <p:sldId id="257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66" r:id="rId15"/>
    <p:sldId id="267" r:id="rId16"/>
    <p:sldId id="268" r:id="rId17"/>
  </p:sldIdLst>
  <p:sldSz cx="9906000" cy="6858000" type="A4"/>
  <p:notesSz cx="6858000" cy="9144000"/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93696A-992B-4BC2-930B-D8F91E8612CB}" v="15" dt="2020-12-18T08:43:52.85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1124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Ugo MANTEL" userId="2d5b7065-31bb-4181-a7f8-a73bf0c30211" providerId="ADAL" clId="{287A013E-B4BE-485E-AE94-C2936752CD18}"/>
    <pc:docChg chg="undo redo custSel addSld delSld modSld">
      <pc:chgData name="Ugo MANTEL" userId="2d5b7065-31bb-4181-a7f8-a73bf0c30211" providerId="ADAL" clId="{287A013E-B4BE-485E-AE94-C2936752CD18}" dt="2020-10-12T11:07:29.675" v="116257"/>
      <pc:docMkLst>
        <pc:docMk/>
      </pc:docMkLst>
      <pc:sldChg chg="addSp delSp modSp mod">
        <pc:chgData name="Ugo MANTEL" userId="2d5b7065-31bb-4181-a7f8-a73bf0c30211" providerId="ADAL" clId="{287A013E-B4BE-485E-AE94-C2936752CD18}" dt="2020-10-12T10:03:49.963" v="114344"/>
        <pc:sldMkLst>
          <pc:docMk/>
          <pc:sldMk cId="49807298" sldId="256"/>
        </pc:sldMkLst>
        <pc:spChg chg="mod">
          <ac:chgData name="Ugo MANTEL" userId="2d5b7065-31bb-4181-a7f8-a73bf0c30211" providerId="ADAL" clId="{287A013E-B4BE-485E-AE94-C2936752CD18}" dt="2020-10-12T10:03:49.926" v="114270"/>
          <ac:spMkLst>
            <pc:docMk/>
            <pc:sldMk cId="49807298" sldId="256"/>
            <ac:spMk id="2" creationId="{5FB7E987-01B8-492B-B78E-0EA088CC8C8A}"/>
          </ac:spMkLst>
        </pc:spChg>
        <pc:spChg chg="mod ord">
          <ac:chgData name="Ugo MANTEL" userId="2d5b7065-31bb-4181-a7f8-a73bf0c30211" providerId="ADAL" clId="{287A013E-B4BE-485E-AE94-C2936752CD18}" dt="2020-10-12T10:03:49.927" v="114272"/>
          <ac:spMkLst>
            <pc:docMk/>
            <pc:sldMk cId="49807298" sldId="256"/>
            <ac:spMk id="3" creationId="{B6CB9626-71CD-4BA3-B2F8-3277490C0DFB}"/>
          </ac:spMkLst>
        </pc:spChg>
        <pc:spChg chg="del mod">
          <ac:chgData name="Ugo MANTEL" userId="2d5b7065-31bb-4181-a7f8-a73bf0c30211" providerId="ADAL" clId="{287A013E-B4BE-485E-AE94-C2936752CD18}" dt="2020-09-14T11:16:11.177" v="770"/>
          <ac:spMkLst>
            <pc:docMk/>
            <pc:sldMk cId="49807298" sldId="256"/>
            <ac:spMk id="16" creationId="{B9FFB72B-D639-4242-9EDD-0AD27AA08101}"/>
          </ac:spMkLst>
        </pc:spChg>
        <pc:spChg chg="del mod">
          <ac:chgData name="Ugo MANTEL" userId="2d5b7065-31bb-4181-a7f8-a73bf0c30211" providerId="ADAL" clId="{287A013E-B4BE-485E-AE94-C2936752CD18}" dt="2020-09-14T11:16:11.194" v="787"/>
          <ac:spMkLst>
            <pc:docMk/>
            <pc:sldMk cId="49807298" sldId="256"/>
            <ac:spMk id="17" creationId="{307772A6-6DB0-4BC5-835A-5DE0AE7EB270}"/>
          </ac:spMkLst>
        </pc:spChg>
        <pc:spChg chg="del mod">
          <ac:chgData name="Ugo MANTEL" userId="2d5b7065-31bb-4181-a7f8-a73bf0c30211" providerId="ADAL" clId="{287A013E-B4BE-485E-AE94-C2936752CD18}" dt="2020-09-14T11:16:12.843" v="923"/>
          <ac:spMkLst>
            <pc:docMk/>
            <pc:sldMk cId="49807298" sldId="256"/>
            <ac:spMk id="18" creationId="{90AD4B51-6842-4029-9192-1B69701F291D}"/>
          </ac:spMkLst>
        </pc:spChg>
        <pc:spChg chg="del mod">
          <ac:chgData name="Ugo MANTEL" userId="2d5b7065-31bb-4181-a7f8-a73bf0c30211" providerId="ADAL" clId="{287A013E-B4BE-485E-AE94-C2936752CD18}" dt="2020-09-14T11:16:11.162" v="753"/>
          <ac:spMkLst>
            <pc:docMk/>
            <pc:sldMk cId="49807298" sldId="256"/>
            <ac:spMk id="19" creationId="{A727656C-6C41-4DEA-9874-001F8B5D4912}"/>
          </ac:spMkLst>
        </pc:spChg>
        <pc:spChg chg="del mod">
          <ac:chgData name="Ugo MANTEL" userId="2d5b7065-31bb-4181-a7f8-a73bf0c30211" providerId="ADAL" clId="{287A013E-B4BE-485E-AE94-C2936752CD18}" dt="2020-09-14T11:16:00.907" v="527"/>
          <ac:spMkLst>
            <pc:docMk/>
            <pc:sldMk cId="49807298" sldId="256"/>
            <ac:spMk id="20" creationId="{EA2CF756-3FDB-4582-A655-39F401A48A41}"/>
          </ac:spMkLst>
        </pc:spChg>
        <pc:spChg chg="del mod">
          <ac:chgData name="Ugo MANTEL" userId="2d5b7065-31bb-4181-a7f8-a73bf0c30211" providerId="ADAL" clId="{287A013E-B4BE-485E-AE94-C2936752CD18}" dt="2020-09-14T11:15:58.582" v="398"/>
          <ac:spMkLst>
            <pc:docMk/>
            <pc:sldMk cId="49807298" sldId="256"/>
            <ac:spMk id="21" creationId="{E9F8FC1D-B7B3-417D-ACE4-A059E209E576}"/>
          </ac:spMkLst>
        </pc:spChg>
        <pc:spChg chg="del mod">
          <ac:chgData name="Ugo MANTEL" userId="2d5b7065-31bb-4181-a7f8-a73bf0c30211" providerId="ADAL" clId="{287A013E-B4BE-485E-AE94-C2936752CD18}" dt="2020-09-14T11:15:58.568" v="378"/>
          <ac:spMkLst>
            <pc:docMk/>
            <pc:sldMk cId="49807298" sldId="256"/>
            <ac:spMk id="22" creationId="{AE941726-19AD-4D2E-8F24-C21114DDDE3E}"/>
          </ac:spMkLst>
        </pc:spChg>
        <pc:spChg chg="del mod">
          <ac:chgData name="Ugo MANTEL" userId="2d5b7065-31bb-4181-a7f8-a73bf0c30211" providerId="ADAL" clId="{287A013E-B4BE-485E-AE94-C2936752CD18}" dt="2020-09-14T11:15:58.576" v="388"/>
          <ac:spMkLst>
            <pc:docMk/>
            <pc:sldMk cId="49807298" sldId="256"/>
            <ac:spMk id="23" creationId="{78A130D4-F227-46F9-9DF2-ADB29E96EA93}"/>
          </ac:spMkLst>
        </pc:spChg>
        <pc:spChg chg="mod">
          <ac:chgData name="Ugo MANTEL" userId="2d5b7065-31bb-4181-a7f8-a73bf0c30211" providerId="ADAL" clId="{287A013E-B4BE-485E-AE94-C2936752CD18}" dt="2020-10-12T10:03:49.955" v="114329"/>
          <ac:spMkLst>
            <pc:docMk/>
            <pc:sldMk cId="49807298" sldId="256"/>
            <ac:spMk id="29" creationId="{08514D1F-E741-4343-B2BB-920A0046EF84}"/>
          </ac:spMkLst>
        </pc:spChg>
        <pc:spChg chg="mod">
          <ac:chgData name="Ugo MANTEL" userId="2d5b7065-31bb-4181-a7f8-a73bf0c30211" providerId="ADAL" clId="{287A013E-B4BE-485E-AE94-C2936752CD18}" dt="2020-10-12T10:03:49.954" v="114327"/>
          <ac:spMkLst>
            <pc:docMk/>
            <pc:sldMk cId="49807298" sldId="256"/>
            <ac:spMk id="30" creationId="{61CB25F0-5394-4BD8-92E6-16389BDD1EA6}"/>
          </ac:spMkLst>
        </pc:spChg>
        <pc:spChg chg="mod">
          <ac:chgData name="Ugo MANTEL" userId="2d5b7065-31bb-4181-a7f8-a73bf0c30211" providerId="ADAL" clId="{287A013E-B4BE-485E-AE94-C2936752CD18}" dt="2020-10-12T10:03:49.954" v="114325"/>
          <ac:spMkLst>
            <pc:docMk/>
            <pc:sldMk cId="49807298" sldId="256"/>
            <ac:spMk id="31" creationId="{2EFB888C-24EA-4799-91EC-4D24BB2A552B}"/>
          </ac:spMkLst>
        </pc:spChg>
        <pc:spChg chg="mod">
          <ac:chgData name="Ugo MANTEL" userId="2d5b7065-31bb-4181-a7f8-a73bf0c30211" providerId="ADAL" clId="{287A013E-B4BE-485E-AE94-C2936752CD18}" dt="2020-10-12T10:03:49.952" v="114320"/>
          <ac:spMkLst>
            <pc:docMk/>
            <pc:sldMk cId="49807298" sldId="256"/>
            <ac:spMk id="32" creationId="{4DE26C2D-BCED-4E76-91EF-6BA802819216}"/>
          </ac:spMkLst>
        </pc:spChg>
        <pc:spChg chg="mod">
          <ac:chgData name="Ugo MANTEL" userId="2d5b7065-31bb-4181-a7f8-a73bf0c30211" providerId="ADAL" clId="{287A013E-B4BE-485E-AE94-C2936752CD18}" dt="2020-10-12T10:03:49.953" v="114323"/>
          <ac:spMkLst>
            <pc:docMk/>
            <pc:sldMk cId="49807298" sldId="256"/>
            <ac:spMk id="33" creationId="{FB71B4E2-CD7D-4ED9-B59C-1DAEEF4D752B}"/>
          </ac:spMkLst>
        </pc:spChg>
        <pc:spChg chg="mod">
          <ac:chgData name="Ugo MANTEL" userId="2d5b7065-31bb-4181-a7f8-a73bf0c30211" providerId="ADAL" clId="{287A013E-B4BE-485E-AE94-C2936752CD18}" dt="2020-10-12T10:03:49.953" v="114321"/>
          <ac:spMkLst>
            <pc:docMk/>
            <pc:sldMk cId="49807298" sldId="256"/>
            <ac:spMk id="34" creationId="{FED6F1E6-6643-4D4B-9413-16622D2E3CE2}"/>
          </ac:spMkLst>
        </pc:spChg>
        <pc:spChg chg="mod">
          <ac:chgData name="Ugo MANTEL" userId="2d5b7065-31bb-4181-a7f8-a73bf0c30211" providerId="ADAL" clId="{287A013E-B4BE-485E-AE94-C2936752CD18}" dt="2020-10-12T10:03:49.958" v="114339"/>
          <ac:spMkLst>
            <pc:docMk/>
            <pc:sldMk cId="49807298" sldId="256"/>
            <ac:spMk id="35" creationId="{00714E26-EC36-4A85-960D-3EDA17D5A276}"/>
          </ac:spMkLst>
        </pc:spChg>
        <pc:spChg chg="mod">
          <ac:chgData name="Ugo MANTEL" userId="2d5b7065-31bb-4181-a7f8-a73bf0c30211" providerId="ADAL" clId="{287A013E-B4BE-485E-AE94-C2936752CD18}" dt="2020-10-12T10:03:49.952" v="114319"/>
          <ac:spMkLst>
            <pc:docMk/>
            <pc:sldMk cId="49807298" sldId="256"/>
            <ac:spMk id="36" creationId="{33094E6A-D62C-4FB5-AA4B-9A8F898CA1E7}"/>
          </ac:spMkLst>
        </pc:spChg>
        <pc:spChg chg="mod">
          <ac:chgData name="Ugo MANTEL" userId="2d5b7065-31bb-4181-a7f8-a73bf0c30211" providerId="ADAL" clId="{287A013E-B4BE-485E-AE94-C2936752CD18}" dt="2020-10-12T10:03:49.951" v="114317"/>
          <ac:spMkLst>
            <pc:docMk/>
            <pc:sldMk cId="49807298" sldId="256"/>
            <ac:spMk id="37" creationId="{2120A82C-648E-40A2-A75A-D6C8537E9C96}"/>
          </ac:spMkLst>
        </pc:spChg>
        <pc:spChg chg="mod">
          <ac:chgData name="Ugo MANTEL" userId="2d5b7065-31bb-4181-a7f8-a73bf0c30211" providerId="ADAL" clId="{287A013E-B4BE-485E-AE94-C2936752CD18}" dt="2020-10-12T10:03:49.954" v="114324"/>
          <ac:spMkLst>
            <pc:docMk/>
            <pc:sldMk cId="49807298" sldId="256"/>
            <ac:spMk id="38" creationId="{97449C5F-EFB9-4A77-BB80-08ACD8569C4D}"/>
          </ac:spMkLst>
        </pc:spChg>
        <pc:spChg chg="mod">
          <ac:chgData name="Ugo MANTEL" userId="2d5b7065-31bb-4181-a7f8-a73bf0c30211" providerId="ADAL" clId="{287A013E-B4BE-485E-AE94-C2936752CD18}" dt="2020-10-12T10:03:49.957" v="114337"/>
          <ac:spMkLst>
            <pc:docMk/>
            <pc:sldMk cId="49807298" sldId="256"/>
            <ac:spMk id="39" creationId="{85D2B09C-7410-4FEA-B6D7-C4A5A091ADA8}"/>
          </ac:spMkLst>
        </pc:spChg>
        <pc:spChg chg="mod">
          <ac:chgData name="Ugo MANTEL" userId="2d5b7065-31bb-4181-a7f8-a73bf0c30211" providerId="ADAL" clId="{287A013E-B4BE-485E-AE94-C2936752CD18}" dt="2020-10-12T10:03:49.956" v="114333"/>
          <ac:spMkLst>
            <pc:docMk/>
            <pc:sldMk cId="49807298" sldId="256"/>
            <ac:spMk id="40" creationId="{39A82838-48B4-4A6D-BE00-031201B45A51}"/>
          </ac:spMkLst>
        </pc:spChg>
        <pc:spChg chg="mod">
          <ac:chgData name="Ugo MANTEL" userId="2d5b7065-31bb-4181-a7f8-a73bf0c30211" providerId="ADAL" clId="{287A013E-B4BE-485E-AE94-C2936752CD18}" dt="2020-10-12T10:03:49.954" v="114326"/>
          <ac:spMkLst>
            <pc:docMk/>
            <pc:sldMk cId="49807298" sldId="256"/>
            <ac:spMk id="41" creationId="{C152E67D-402B-4387-8DB5-DF4CAE9F853F}"/>
          </ac:spMkLst>
        </pc:spChg>
        <pc:spChg chg="mod ord">
          <ac:chgData name="Ugo MANTEL" userId="2d5b7065-31bb-4181-a7f8-a73bf0c30211" providerId="ADAL" clId="{287A013E-B4BE-485E-AE94-C2936752CD18}" dt="2020-10-12T10:03:49.926" v="114269"/>
          <ac:spMkLst>
            <pc:docMk/>
            <pc:sldMk cId="49807298" sldId="256"/>
            <ac:spMk id="42" creationId="{1CDC1D26-5559-48E5-A3EA-95A60632EA3F}"/>
          </ac:spMkLst>
        </pc:spChg>
        <pc:spChg chg="add del mod ord">
          <ac:chgData name="Ugo MANTEL" userId="2d5b7065-31bb-4181-a7f8-a73bf0c30211" providerId="ADAL" clId="{287A013E-B4BE-485E-AE94-C2936752CD18}" dt="2020-09-14T11:16:51.210" v="2331"/>
          <ac:spMkLst>
            <pc:docMk/>
            <pc:sldMk cId="49807298" sldId="256"/>
            <ac:spMk id="53" creationId="{FD9D3FE1-AB6F-4FC0-982F-2F612C9284C0}"/>
          </ac:spMkLst>
        </pc:spChg>
        <pc:spChg chg="add del mod ord">
          <ac:chgData name="Ugo MANTEL" userId="2d5b7065-31bb-4181-a7f8-a73bf0c30211" providerId="ADAL" clId="{287A013E-B4BE-485E-AE94-C2936752CD18}" dt="2020-09-14T11:16:55.514" v="2488"/>
          <ac:spMkLst>
            <pc:docMk/>
            <pc:sldMk cId="49807298" sldId="256"/>
            <ac:spMk id="54" creationId="{08CFBD6C-596C-4747-A6D1-DE7A4591A8DF}"/>
          </ac:spMkLst>
        </pc:spChg>
        <pc:spChg chg="add del mod">
          <ac:chgData name="Ugo MANTEL" userId="2d5b7065-31bb-4181-a7f8-a73bf0c30211" providerId="ADAL" clId="{287A013E-B4BE-485E-AE94-C2936752CD18}" dt="2020-09-22T17:09:38.857" v="71703"/>
          <ac:spMkLst>
            <pc:docMk/>
            <pc:sldMk cId="49807298" sldId="256"/>
            <ac:spMk id="54" creationId="{AB2C92C3-700C-41D0-834E-7F467AB669B4}"/>
          </ac:spMkLst>
        </pc:spChg>
        <pc:spChg chg="add del mod">
          <ac:chgData name="Ugo MANTEL" userId="2d5b7065-31bb-4181-a7f8-a73bf0c30211" providerId="ADAL" clId="{287A013E-B4BE-485E-AE94-C2936752CD18}" dt="2020-09-22T17:09:38.874" v="71723"/>
          <ac:spMkLst>
            <pc:docMk/>
            <pc:sldMk cId="49807298" sldId="256"/>
            <ac:spMk id="56" creationId="{58FF20F3-1068-4AAC-8F74-999689DCCEBB}"/>
          </ac:spMkLst>
        </pc:spChg>
        <pc:spChg chg="add del mod">
          <ac:chgData name="Ugo MANTEL" userId="2d5b7065-31bb-4181-a7f8-a73bf0c30211" providerId="ADAL" clId="{287A013E-B4BE-485E-AE94-C2936752CD18}" dt="2020-09-22T17:09:38.862" v="71708"/>
          <ac:spMkLst>
            <pc:docMk/>
            <pc:sldMk cId="49807298" sldId="256"/>
            <ac:spMk id="60" creationId="{2A4BBC71-5894-4A84-9BFA-7D0E17976B4B}"/>
          </ac:spMkLst>
        </pc:spChg>
        <pc:spChg chg="add del mod">
          <ac:chgData name="Ugo MANTEL" userId="2d5b7065-31bb-4181-a7f8-a73bf0c30211" providerId="ADAL" clId="{287A013E-B4BE-485E-AE94-C2936752CD18}" dt="2020-09-22T17:09:38.876" v="71726"/>
          <ac:spMkLst>
            <pc:docMk/>
            <pc:sldMk cId="49807298" sldId="256"/>
            <ac:spMk id="61" creationId="{B0E4D08E-DA38-48DA-ACCB-5BC8F854ECEC}"/>
          </ac:spMkLst>
        </pc:spChg>
        <pc:spChg chg="add del mod">
          <ac:chgData name="Ugo MANTEL" userId="2d5b7065-31bb-4181-a7f8-a73bf0c30211" providerId="ADAL" clId="{287A013E-B4BE-485E-AE94-C2936752CD18}" dt="2020-09-22T17:09:38.866" v="71713"/>
          <ac:spMkLst>
            <pc:docMk/>
            <pc:sldMk cId="49807298" sldId="256"/>
            <ac:spMk id="67" creationId="{3F1E8B64-9816-45C2-B8BB-A9E312061DA9}"/>
          </ac:spMkLst>
        </pc:spChg>
        <pc:spChg chg="add del mod">
          <ac:chgData name="Ugo MANTEL" userId="2d5b7065-31bb-4181-a7f8-a73bf0c30211" providerId="ADAL" clId="{287A013E-B4BE-485E-AE94-C2936752CD18}" dt="2020-09-22T17:09:38.878" v="71729"/>
          <ac:spMkLst>
            <pc:docMk/>
            <pc:sldMk cId="49807298" sldId="256"/>
            <ac:spMk id="69" creationId="{28D1FADE-8457-44FE-B2D3-F730F73BF580}"/>
          </ac:spMkLst>
        </pc:spChg>
        <pc:spChg chg="add del mod">
          <ac:chgData name="Ugo MANTEL" userId="2d5b7065-31bb-4181-a7f8-a73bf0c30211" providerId="ADAL" clId="{287A013E-B4BE-485E-AE94-C2936752CD18}" dt="2020-09-22T17:09:38.869" v="71718"/>
          <ac:spMkLst>
            <pc:docMk/>
            <pc:sldMk cId="49807298" sldId="256"/>
            <ac:spMk id="72" creationId="{B5E0AE40-0749-4077-840C-293123BCB3A4}"/>
          </ac:spMkLst>
        </pc:spChg>
        <pc:spChg chg="add del mod">
          <ac:chgData name="Ugo MANTEL" userId="2d5b7065-31bb-4181-a7f8-a73bf0c30211" providerId="ADAL" clId="{287A013E-B4BE-485E-AE94-C2936752CD18}" dt="2020-09-22T17:09:38.879" v="71732"/>
          <ac:spMkLst>
            <pc:docMk/>
            <pc:sldMk cId="49807298" sldId="256"/>
            <ac:spMk id="73" creationId="{9B82B8F3-4430-4F5A-8713-38AFE6480EE6}"/>
          </ac:spMkLst>
        </pc:spChg>
        <pc:spChg chg="add del mod">
          <ac:chgData name="Ugo MANTEL" userId="2d5b7065-31bb-4181-a7f8-a73bf0c30211" providerId="ADAL" clId="{287A013E-B4BE-485E-AE94-C2936752CD18}" dt="2020-09-22T17:10:34.455" v="72870"/>
          <ac:spMkLst>
            <pc:docMk/>
            <pc:sldMk cId="49807298" sldId="256"/>
            <ac:spMk id="79" creationId="{C2390D8F-7792-46FE-BA14-A28D899BC02A}"/>
          </ac:spMkLst>
        </pc:spChg>
        <pc:spChg chg="add del mod">
          <ac:chgData name="Ugo MANTEL" userId="2d5b7065-31bb-4181-a7f8-a73bf0c30211" providerId="ADAL" clId="{287A013E-B4BE-485E-AE94-C2936752CD18}" dt="2020-09-22T17:10:34.453" v="72864"/>
          <ac:spMkLst>
            <pc:docMk/>
            <pc:sldMk cId="49807298" sldId="256"/>
            <ac:spMk id="80" creationId="{FDB3A522-D0DD-4DA6-87AA-BDDB43013DB4}"/>
          </ac:spMkLst>
        </pc:spChg>
        <pc:spChg chg="add del mod">
          <ac:chgData name="Ugo MANTEL" userId="2d5b7065-31bb-4181-a7f8-a73bf0c30211" providerId="ADAL" clId="{287A013E-B4BE-485E-AE94-C2936752CD18}" dt="2020-09-22T17:10:34.450" v="72858"/>
          <ac:spMkLst>
            <pc:docMk/>
            <pc:sldMk cId="49807298" sldId="256"/>
            <ac:spMk id="81" creationId="{70F29FC6-F09A-4038-98EB-AECBE1A994B2}"/>
          </ac:spMkLst>
        </pc:spChg>
        <pc:spChg chg="add del mod">
          <ac:chgData name="Ugo MANTEL" userId="2d5b7065-31bb-4181-a7f8-a73bf0c30211" providerId="ADAL" clId="{287A013E-B4BE-485E-AE94-C2936752CD18}" dt="2020-09-22T17:10:34.455" v="72869"/>
          <ac:spMkLst>
            <pc:docMk/>
            <pc:sldMk cId="49807298" sldId="256"/>
            <ac:spMk id="82" creationId="{1FBB3916-3114-4B4E-BC96-16966CEA325D}"/>
          </ac:spMkLst>
        </pc:spChg>
        <pc:spChg chg="add del mod ord">
          <ac:chgData name="Ugo MANTEL" userId="2d5b7065-31bb-4181-a7f8-a73bf0c30211" providerId="ADAL" clId="{287A013E-B4BE-485E-AE94-C2936752CD18}" dt="2020-09-22T17:10:34.454" v="72866"/>
          <ac:spMkLst>
            <pc:docMk/>
            <pc:sldMk cId="49807298" sldId="256"/>
            <ac:spMk id="83" creationId="{00C611CA-ADC4-4424-A073-770E81881D43}"/>
          </ac:spMkLst>
        </pc:spChg>
        <pc:spChg chg="add del mod ord">
          <ac:chgData name="Ugo MANTEL" userId="2d5b7065-31bb-4181-a7f8-a73bf0c30211" providerId="ADAL" clId="{287A013E-B4BE-485E-AE94-C2936752CD18}" dt="2020-09-22T17:10:34.455" v="72868"/>
          <ac:spMkLst>
            <pc:docMk/>
            <pc:sldMk cId="49807298" sldId="256"/>
            <ac:spMk id="84" creationId="{D32B306E-C779-44C2-A0D3-024F0F62498C}"/>
          </ac:spMkLst>
        </pc:spChg>
        <pc:spChg chg="add del mod">
          <ac:chgData name="Ugo MANTEL" userId="2d5b7065-31bb-4181-a7f8-a73bf0c30211" providerId="ADAL" clId="{287A013E-B4BE-485E-AE94-C2936752CD18}" dt="2020-09-14T11:18:54.347" v="4094"/>
          <ac:spMkLst>
            <pc:docMk/>
            <pc:sldMk cId="49807298" sldId="256"/>
            <ac:spMk id="85" creationId="{0140F056-D1C5-41FA-92E1-4DCE8F7403E4}"/>
          </ac:spMkLst>
        </pc:spChg>
        <pc:spChg chg="add del mod">
          <ac:chgData name="Ugo MANTEL" userId="2d5b7065-31bb-4181-a7f8-a73bf0c30211" providerId="ADAL" clId="{287A013E-B4BE-485E-AE94-C2936752CD18}" dt="2020-09-22T17:10:34.452" v="72863"/>
          <ac:spMkLst>
            <pc:docMk/>
            <pc:sldMk cId="49807298" sldId="256"/>
            <ac:spMk id="85" creationId="{2B6B2741-CC92-473C-8A5A-7BCE5F1B5BBB}"/>
          </ac:spMkLst>
        </pc:spChg>
        <pc:spChg chg="add del mod ord">
          <ac:chgData name="Ugo MANTEL" userId="2d5b7065-31bb-4181-a7f8-a73bf0c30211" providerId="ADAL" clId="{287A013E-B4BE-485E-AE94-C2936752CD18}" dt="2020-09-22T17:10:34.451" v="72860"/>
          <ac:spMkLst>
            <pc:docMk/>
            <pc:sldMk cId="49807298" sldId="256"/>
            <ac:spMk id="86" creationId="{760A160B-2763-476D-9248-396B88D8C863}"/>
          </ac:spMkLst>
        </pc:spChg>
        <pc:spChg chg="add del mod ord">
          <ac:chgData name="Ugo MANTEL" userId="2d5b7065-31bb-4181-a7f8-a73bf0c30211" providerId="ADAL" clId="{287A013E-B4BE-485E-AE94-C2936752CD18}" dt="2020-09-22T17:10:34.452" v="72862"/>
          <ac:spMkLst>
            <pc:docMk/>
            <pc:sldMk cId="49807298" sldId="256"/>
            <ac:spMk id="87" creationId="{E60076D0-50A7-4771-BB60-B6AE910D3100}"/>
          </ac:spMkLst>
        </pc:spChg>
        <pc:spChg chg="add del mod">
          <ac:chgData name="Ugo MANTEL" userId="2d5b7065-31bb-4181-a7f8-a73bf0c30211" providerId="ADAL" clId="{287A013E-B4BE-485E-AE94-C2936752CD18}" dt="2020-09-14T11:18:56.344" v="4315"/>
          <ac:spMkLst>
            <pc:docMk/>
            <pc:sldMk cId="49807298" sldId="256"/>
            <ac:spMk id="88" creationId="{093CADD9-9E50-4605-BC40-695C2A17C8D2}"/>
          </ac:spMkLst>
        </pc:spChg>
        <pc:spChg chg="add del mod">
          <ac:chgData name="Ugo MANTEL" userId="2d5b7065-31bb-4181-a7f8-a73bf0c30211" providerId="ADAL" clId="{287A013E-B4BE-485E-AE94-C2936752CD18}" dt="2020-09-22T17:10:34.450" v="72857"/>
          <ac:spMkLst>
            <pc:docMk/>
            <pc:sldMk cId="49807298" sldId="256"/>
            <ac:spMk id="88" creationId="{9579DA9E-2DEF-41EA-96E2-44F449E69675}"/>
          </ac:spMkLst>
        </pc:spChg>
        <pc:spChg chg="add del mod ord">
          <ac:chgData name="Ugo MANTEL" userId="2d5b7065-31bb-4181-a7f8-a73bf0c30211" providerId="ADAL" clId="{287A013E-B4BE-485E-AE94-C2936752CD18}" dt="2020-09-22T17:10:34.449" v="72854"/>
          <ac:spMkLst>
            <pc:docMk/>
            <pc:sldMk cId="49807298" sldId="256"/>
            <ac:spMk id="89" creationId="{776770F3-0889-44C1-B45F-F429DC12F54B}"/>
          </ac:spMkLst>
        </pc:spChg>
        <pc:spChg chg="add del mod ord">
          <ac:chgData name="Ugo MANTEL" userId="2d5b7065-31bb-4181-a7f8-a73bf0c30211" providerId="ADAL" clId="{287A013E-B4BE-485E-AE94-C2936752CD18}" dt="2020-09-22T17:10:34.450" v="72856"/>
          <ac:spMkLst>
            <pc:docMk/>
            <pc:sldMk cId="49807298" sldId="256"/>
            <ac:spMk id="90" creationId="{00DF8B6E-789A-4C35-BD93-3B31FD380AEE}"/>
          </ac:spMkLst>
        </pc:spChg>
        <pc:spChg chg="add del mod">
          <ac:chgData name="Ugo MANTEL" userId="2d5b7065-31bb-4181-a7f8-a73bf0c30211" providerId="ADAL" clId="{287A013E-B4BE-485E-AE94-C2936752CD18}" dt="2020-09-14T11:18:59.487" v="4536"/>
          <ac:spMkLst>
            <pc:docMk/>
            <pc:sldMk cId="49807298" sldId="256"/>
            <ac:spMk id="91" creationId="{4F77A143-4C1B-4BBE-92BD-DA1881AE227B}"/>
          </ac:spMkLst>
        </pc:spChg>
        <pc:spChg chg="add del mod">
          <ac:chgData name="Ugo MANTEL" userId="2d5b7065-31bb-4181-a7f8-a73bf0c30211" providerId="ADAL" clId="{287A013E-B4BE-485E-AE94-C2936752CD18}" dt="2020-09-14T11:19:00.819" v="4757"/>
          <ac:spMkLst>
            <pc:docMk/>
            <pc:sldMk cId="49807298" sldId="256"/>
            <ac:spMk id="94" creationId="{ACBD1DA7-768E-40EE-8623-20BA89DC78FC}"/>
          </ac:spMkLst>
        </pc:spChg>
        <pc:spChg chg="add del mod">
          <ac:chgData name="Ugo MANTEL" userId="2d5b7065-31bb-4181-a7f8-a73bf0c30211" providerId="ADAL" clId="{287A013E-B4BE-485E-AE94-C2936752CD18}" dt="2020-09-14T11:19:05.458" v="4978"/>
          <ac:spMkLst>
            <pc:docMk/>
            <pc:sldMk cId="49807298" sldId="256"/>
            <ac:spMk id="97" creationId="{F0E5FDF9-6DFD-4612-B024-1B15886D3EE6}"/>
          </ac:spMkLst>
        </pc:spChg>
        <pc:spChg chg="add del mod">
          <ac:chgData name="Ugo MANTEL" userId="2d5b7065-31bb-4181-a7f8-a73bf0c30211" providerId="ADAL" clId="{287A013E-B4BE-485E-AE94-C2936752CD18}" dt="2020-09-14T11:19:09.476" v="5199"/>
          <ac:spMkLst>
            <pc:docMk/>
            <pc:sldMk cId="49807298" sldId="256"/>
            <ac:spMk id="100" creationId="{FB5AA49E-5D9D-43A5-81CB-DE9C28AB7EDB}"/>
          </ac:spMkLst>
        </pc:spChg>
        <pc:spChg chg="add del mod">
          <ac:chgData name="Ugo MANTEL" userId="2d5b7065-31bb-4181-a7f8-a73bf0c30211" providerId="ADAL" clId="{287A013E-B4BE-485E-AE94-C2936752CD18}" dt="2020-09-14T11:19:11.986" v="5420"/>
          <ac:spMkLst>
            <pc:docMk/>
            <pc:sldMk cId="49807298" sldId="256"/>
            <ac:spMk id="103" creationId="{9C784F4A-C553-4A91-AFE2-23207F28CABE}"/>
          </ac:spMkLst>
        </pc:spChg>
        <pc:spChg chg="add del mod">
          <ac:chgData name="Ugo MANTEL" userId="2d5b7065-31bb-4181-a7f8-a73bf0c30211" providerId="ADAL" clId="{287A013E-B4BE-485E-AE94-C2936752CD18}" dt="2020-09-14T11:19:21.597" v="5641"/>
          <ac:spMkLst>
            <pc:docMk/>
            <pc:sldMk cId="49807298" sldId="256"/>
            <ac:spMk id="106" creationId="{499A0433-D729-4927-B7B2-7B775C3C85B3}"/>
          </ac:spMkLst>
        </pc:spChg>
        <pc:spChg chg="add mod">
          <ac:chgData name="Ugo MANTEL" userId="2d5b7065-31bb-4181-a7f8-a73bf0c30211" providerId="ADAL" clId="{287A013E-B4BE-485E-AE94-C2936752CD18}" dt="2020-09-14T11:21:16.423" v="7437"/>
          <ac:spMkLst>
            <pc:docMk/>
            <pc:sldMk cId="49807298" sldId="256"/>
            <ac:spMk id="117" creationId="{1D843AE3-2F54-4A20-9092-3117AD599EA7}"/>
          </ac:spMkLst>
        </pc:spChg>
        <pc:spChg chg="add mod">
          <ac:chgData name="Ugo MANTEL" userId="2d5b7065-31bb-4181-a7f8-a73bf0c30211" providerId="ADAL" clId="{287A013E-B4BE-485E-AE94-C2936752CD18}" dt="2020-09-14T11:21:16.423" v="7437"/>
          <ac:spMkLst>
            <pc:docMk/>
            <pc:sldMk cId="49807298" sldId="256"/>
            <ac:spMk id="118" creationId="{E303511E-F9AB-41EA-80DD-7FFA78AF9BD2}"/>
          </ac:spMkLst>
        </pc:spChg>
        <pc:spChg chg="add mod">
          <ac:chgData name="Ugo MANTEL" userId="2d5b7065-31bb-4181-a7f8-a73bf0c30211" providerId="ADAL" clId="{287A013E-B4BE-485E-AE94-C2936752CD18}" dt="2020-09-14T11:21:16.423" v="7437"/>
          <ac:spMkLst>
            <pc:docMk/>
            <pc:sldMk cId="49807298" sldId="256"/>
            <ac:spMk id="119" creationId="{572209F8-4B42-4DF9-84A0-BFBB023860B3}"/>
          </ac:spMkLst>
        </pc:spChg>
        <pc:spChg chg="add mod">
          <ac:chgData name="Ugo MANTEL" userId="2d5b7065-31bb-4181-a7f8-a73bf0c30211" providerId="ADAL" clId="{287A013E-B4BE-485E-AE94-C2936752CD18}" dt="2020-09-14T11:21:16.423" v="7437"/>
          <ac:spMkLst>
            <pc:docMk/>
            <pc:sldMk cId="49807298" sldId="256"/>
            <ac:spMk id="120" creationId="{9E2CB581-68AD-476B-A869-72726EC96EB8}"/>
          </ac:spMkLst>
        </pc:spChg>
        <pc:spChg chg="add mod">
          <ac:chgData name="Ugo MANTEL" userId="2d5b7065-31bb-4181-a7f8-a73bf0c30211" providerId="ADAL" clId="{287A013E-B4BE-485E-AE94-C2936752CD18}" dt="2020-09-14T11:21:16.423" v="7437"/>
          <ac:spMkLst>
            <pc:docMk/>
            <pc:sldMk cId="49807298" sldId="256"/>
            <ac:spMk id="121" creationId="{5BDC8C44-7E69-4BBC-B9CA-2A9F68EC2999}"/>
          </ac:spMkLst>
        </pc:spChg>
        <pc:spChg chg="add mod">
          <ac:chgData name="Ugo MANTEL" userId="2d5b7065-31bb-4181-a7f8-a73bf0c30211" providerId="ADAL" clId="{287A013E-B4BE-485E-AE94-C2936752CD18}" dt="2020-09-14T11:21:16.423" v="7437"/>
          <ac:spMkLst>
            <pc:docMk/>
            <pc:sldMk cId="49807298" sldId="256"/>
            <ac:spMk id="122" creationId="{73894AD4-ED0B-4594-9746-9257B0694F34}"/>
          </ac:spMkLst>
        </pc:spChg>
        <pc:spChg chg="add mod">
          <ac:chgData name="Ugo MANTEL" userId="2d5b7065-31bb-4181-a7f8-a73bf0c30211" providerId="ADAL" clId="{287A013E-B4BE-485E-AE94-C2936752CD18}" dt="2020-09-14T11:21:16.423" v="7437"/>
          <ac:spMkLst>
            <pc:docMk/>
            <pc:sldMk cId="49807298" sldId="256"/>
            <ac:spMk id="123" creationId="{BBEF9A01-4E7F-4960-B7B4-7493D61B6A75}"/>
          </ac:spMkLst>
        </pc:spChg>
        <pc:spChg chg="add mod">
          <ac:chgData name="Ugo MANTEL" userId="2d5b7065-31bb-4181-a7f8-a73bf0c30211" providerId="ADAL" clId="{287A013E-B4BE-485E-AE94-C2936752CD18}" dt="2020-09-14T11:21:16.423" v="7437"/>
          <ac:spMkLst>
            <pc:docMk/>
            <pc:sldMk cId="49807298" sldId="256"/>
            <ac:spMk id="124" creationId="{195B4259-13E0-4C09-9AA5-EECAE71CD350}"/>
          </ac:spMkLst>
        </pc:spChg>
        <pc:spChg chg="add del mod">
          <ac:chgData name="Ugo MANTEL" userId="2d5b7065-31bb-4181-a7f8-a73bf0c30211" providerId="ADAL" clId="{287A013E-B4BE-485E-AE94-C2936752CD18}" dt="2020-09-14T11:21:16.423" v="7437"/>
          <ac:spMkLst>
            <pc:docMk/>
            <pc:sldMk cId="49807298" sldId="256"/>
            <ac:spMk id="125" creationId="{A0C793B3-A80C-4E0C-8589-8FBFA8FE3C02}"/>
          </ac:spMkLst>
        </pc:spChg>
        <pc:spChg chg="add del mod">
          <ac:chgData name="Ugo MANTEL" userId="2d5b7065-31bb-4181-a7f8-a73bf0c30211" providerId="ADAL" clId="{287A013E-B4BE-485E-AE94-C2936752CD18}" dt="2020-09-14T11:21:16.423" v="7437"/>
          <ac:spMkLst>
            <pc:docMk/>
            <pc:sldMk cId="49807298" sldId="256"/>
            <ac:spMk id="126" creationId="{558B62FC-F45A-4940-BCEC-B908D6336003}"/>
          </ac:spMkLst>
        </pc:spChg>
        <pc:spChg chg="add del mod">
          <ac:chgData name="Ugo MANTEL" userId="2d5b7065-31bb-4181-a7f8-a73bf0c30211" providerId="ADAL" clId="{287A013E-B4BE-485E-AE94-C2936752CD18}" dt="2020-09-14T11:21:16.423" v="7437"/>
          <ac:spMkLst>
            <pc:docMk/>
            <pc:sldMk cId="49807298" sldId="256"/>
            <ac:spMk id="127" creationId="{F2058142-B3E9-4AA1-9F42-36E6B634CD59}"/>
          </ac:spMkLst>
        </pc:spChg>
        <pc:spChg chg="add del mod">
          <ac:chgData name="Ugo MANTEL" userId="2d5b7065-31bb-4181-a7f8-a73bf0c30211" providerId="ADAL" clId="{287A013E-B4BE-485E-AE94-C2936752CD18}" dt="2020-09-14T11:21:16.423" v="7437"/>
          <ac:spMkLst>
            <pc:docMk/>
            <pc:sldMk cId="49807298" sldId="256"/>
            <ac:spMk id="128" creationId="{53FAD33A-F2FE-4FA1-93F4-AE8ED737C308}"/>
          </ac:spMkLst>
        </pc:spChg>
        <pc:spChg chg="add del mod">
          <ac:chgData name="Ugo MANTEL" userId="2d5b7065-31bb-4181-a7f8-a73bf0c30211" providerId="ADAL" clId="{287A013E-B4BE-485E-AE94-C2936752CD18}" dt="2020-09-14T11:21:16.423" v="7437"/>
          <ac:spMkLst>
            <pc:docMk/>
            <pc:sldMk cId="49807298" sldId="256"/>
            <ac:spMk id="129" creationId="{CF133B02-BE5E-48E5-AFD8-A6BC502A3311}"/>
          </ac:spMkLst>
        </pc:spChg>
        <pc:spChg chg="add del mod">
          <ac:chgData name="Ugo MANTEL" userId="2d5b7065-31bb-4181-a7f8-a73bf0c30211" providerId="ADAL" clId="{287A013E-B4BE-485E-AE94-C2936752CD18}" dt="2020-09-14T11:21:26.725" v="7930"/>
          <ac:spMkLst>
            <pc:docMk/>
            <pc:sldMk cId="49807298" sldId="256"/>
            <ac:spMk id="131" creationId="{DCBA598F-4510-4D9A-A1A3-B47B710D3444}"/>
          </ac:spMkLst>
        </pc:spChg>
        <pc:spChg chg="add del mod">
          <ac:chgData name="Ugo MANTEL" userId="2d5b7065-31bb-4181-a7f8-a73bf0c30211" providerId="ADAL" clId="{287A013E-B4BE-485E-AE94-C2936752CD18}" dt="2020-09-14T11:21:30.890" v="8151"/>
          <ac:spMkLst>
            <pc:docMk/>
            <pc:sldMk cId="49807298" sldId="256"/>
            <ac:spMk id="134" creationId="{E9F29C4C-B33F-483E-9543-3A999515143F}"/>
          </ac:spMkLst>
        </pc:spChg>
        <pc:spChg chg="add del mod">
          <ac:chgData name="Ugo MANTEL" userId="2d5b7065-31bb-4181-a7f8-a73bf0c30211" providerId="ADAL" clId="{287A013E-B4BE-485E-AE94-C2936752CD18}" dt="2020-09-14T11:21:38.240" v="8372"/>
          <ac:spMkLst>
            <pc:docMk/>
            <pc:sldMk cId="49807298" sldId="256"/>
            <ac:spMk id="137" creationId="{314929EF-6F24-4B96-9B0C-AB5BAC6917A1}"/>
          </ac:spMkLst>
        </pc:spChg>
        <pc:spChg chg="add del mod">
          <ac:chgData name="Ugo MANTEL" userId="2d5b7065-31bb-4181-a7f8-a73bf0c30211" providerId="ADAL" clId="{287A013E-B4BE-485E-AE94-C2936752CD18}" dt="2020-09-14T11:21:41.131" v="8659"/>
          <ac:spMkLst>
            <pc:docMk/>
            <pc:sldMk cId="49807298" sldId="256"/>
            <ac:spMk id="140" creationId="{9E9A9960-9732-4BF4-BFE8-35E5BC69489F}"/>
          </ac:spMkLst>
        </pc:spChg>
        <pc:spChg chg="add del mod">
          <ac:chgData name="Ugo MANTEL" userId="2d5b7065-31bb-4181-a7f8-a73bf0c30211" providerId="ADAL" clId="{287A013E-B4BE-485E-AE94-C2936752CD18}" dt="2020-09-14T11:21:43.124" v="8738"/>
          <ac:spMkLst>
            <pc:docMk/>
            <pc:sldMk cId="49807298" sldId="256"/>
            <ac:spMk id="142" creationId="{EFD376BB-037B-469C-8A42-C931749EE910}"/>
          </ac:spMkLst>
        </pc:spChg>
        <pc:spChg chg="add del mod">
          <ac:chgData name="Ugo MANTEL" userId="2d5b7065-31bb-4181-a7f8-a73bf0c30211" providerId="ADAL" clId="{287A013E-B4BE-485E-AE94-C2936752CD18}" dt="2020-09-14T11:21:51.817" v="9047"/>
          <ac:spMkLst>
            <pc:docMk/>
            <pc:sldMk cId="49807298" sldId="256"/>
            <ac:spMk id="146" creationId="{0CB3C01E-B500-4DF7-86F5-91CAA660A2E2}"/>
          </ac:spMkLst>
        </pc:spChg>
        <pc:spChg chg="add del mod">
          <ac:chgData name="Ugo MANTEL" userId="2d5b7065-31bb-4181-a7f8-a73bf0c30211" providerId="ADAL" clId="{287A013E-B4BE-485E-AE94-C2936752CD18}" dt="2020-09-14T11:22:39.409" v="9786"/>
          <ac:spMkLst>
            <pc:docMk/>
            <pc:sldMk cId="49807298" sldId="256"/>
            <ac:spMk id="155" creationId="{945BF58C-F3EE-4292-8710-960B574D249E}"/>
          </ac:spMkLst>
        </pc:spChg>
        <pc:spChg chg="add del mod ord">
          <ac:chgData name="Ugo MANTEL" userId="2d5b7065-31bb-4181-a7f8-a73bf0c30211" providerId="ADAL" clId="{287A013E-B4BE-485E-AE94-C2936752CD18}" dt="2020-09-14T11:23:11.054" v="11233"/>
          <ac:spMkLst>
            <pc:docMk/>
            <pc:sldMk cId="49807298" sldId="256"/>
            <ac:spMk id="161" creationId="{B3D3D955-9E93-4F07-9E66-AF5674890723}"/>
          </ac:spMkLst>
        </pc:spChg>
        <pc:spChg chg="add mod">
          <ac:chgData name="Ugo MANTEL" userId="2d5b7065-31bb-4181-a7f8-a73bf0c30211" providerId="ADAL" clId="{287A013E-B4BE-485E-AE94-C2936752CD18}" dt="2020-10-12T10:03:49.958" v="114340"/>
          <ac:spMkLst>
            <pc:docMk/>
            <pc:sldMk cId="49807298" sldId="256"/>
            <ac:spMk id="165" creationId="{5C34D846-5CB4-44D6-A90D-D126F6A15053}"/>
          </ac:spMkLst>
        </pc:spChg>
        <pc:spChg chg="add mod ord">
          <ac:chgData name="Ugo MANTEL" userId="2d5b7065-31bb-4181-a7f8-a73bf0c30211" providerId="ADAL" clId="{287A013E-B4BE-485E-AE94-C2936752CD18}" dt="2020-10-12T10:03:49.955" v="114330"/>
          <ac:spMkLst>
            <pc:docMk/>
            <pc:sldMk cId="49807298" sldId="256"/>
            <ac:spMk id="167" creationId="{3FD5BDCC-A5B7-4998-8DC7-4D6909231A15}"/>
          </ac:spMkLst>
        </pc:spChg>
        <pc:spChg chg="add mod">
          <ac:chgData name="Ugo MANTEL" userId="2d5b7065-31bb-4181-a7f8-a73bf0c30211" providerId="ADAL" clId="{287A013E-B4BE-485E-AE94-C2936752CD18}" dt="2020-10-12T10:03:49.957" v="114334"/>
          <ac:spMkLst>
            <pc:docMk/>
            <pc:sldMk cId="49807298" sldId="256"/>
            <ac:spMk id="168" creationId="{CED88030-701E-499A-A464-3C34C5228A3F}"/>
          </ac:spMkLst>
        </pc:spChg>
        <pc:spChg chg="add mod">
          <ac:chgData name="Ugo MANTEL" userId="2d5b7065-31bb-4181-a7f8-a73bf0c30211" providerId="ADAL" clId="{287A013E-B4BE-485E-AE94-C2936752CD18}" dt="2020-10-12T10:03:49.957" v="114335"/>
          <ac:spMkLst>
            <pc:docMk/>
            <pc:sldMk cId="49807298" sldId="256"/>
            <ac:spMk id="169" creationId="{2B45617E-18DB-4E4A-81BE-72286154FCC1}"/>
          </ac:spMkLst>
        </pc:spChg>
        <pc:spChg chg="add del mod">
          <ac:chgData name="Ugo MANTEL" userId="2d5b7065-31bb-4181-a7f8-a73bf0c30211" providerId="ADAL" clId="{287A013E-B4BE-485E-AE94-C2936752CD18}" dt="2020-10-12T10:03:49.959" v="114341"/>
          <ac:spMkLst>
            <pc:docMk/>
            <pc:sldMk cId="49807298" sldId="256"/>
            <ac:spMk id="170" creationId="{BDD2781E-3E86-4A91-8146-84E12F59FA0C}"/>
          </ac:spMkLst>
        </pc:spChg>
        <pc:spChg chg="add mod">
          <ac:chgData name="Ugo MANTEL" userId="2d5b7065-31bb-4181-a7f8-a73bf0c30211" providerId="ADAL" clId="{287A013E-B4BE-485E-AE94-C2936752CD18}" dt="2020-10-12T10:03:49.959" v="114342"/>
          <ac:spMkLst>
            <pc:docMk/>
            <pc:sldMk cId="49807298" sldId="256"/>
            <ac:spMk id="171" creationId="{B8734C2E-BE04-4B3A-BAA9-6C1D8581526B}"/>
          </ac:spMkLst>
        </pc:spChg>
        <pc:spChg chg="add mod">
          <ac:chgData name="Ugo MANTEL" userId="2d5b7065-31bb-4181-a7f8-a73bf0c30211" providerId="ADAL" clId="{287A013E-B4BE-485E-AE94-C2936752CD18}" dt="2020-10-12T10:03:49.952" v="114318"/>
          <ac:spMkLst>
            <pc:docMk/>
            <pc:sldMk cId="49807298" sldId="256"/>
            <ac:spMk id="172" creationId="{6A5EF5DD-3BAC-4E5E-B000-376F8E699F71}"/>
          </ac:spMkLst>
        </pc:spChg>
        <pc:spChg chg="add mod">
          <ac:chgData name="Ugo MANTEL" userId="2d5b7065-31bb-4181-a7f8-a73bf0c30211" providerId="ADAL" clId="{287A013E-B4BE-485E-AE94-C2936752CD18}" dt="2020-10-12T10:03:49.953" v="114322"/>
          <ac:spMkLst>
            <pc:docMk/>
            <pc:sldMk cId="49807298" sldId="256"/>
            <ac:spMk id="173" creationId="{84E3CE5E-D6F1-44D8-A0DB-1B49B448B06F}"/>
          </ac:spMkLst>
        </pc:spChg>
        <pc:spChg chg="add del mod">
          <ac:chgData name="Ugo MANTEL" userId="2d5b7065-31bb-4181-a7f8-a73bf0c30211" providerId="ADAL" clId="{287A013E-B4BE-485E-AE94-C2936752CD18}" dt="2020-10-12T10:03:49.957" v="114336"/>
          <ac:spMkLst>
            <pc:docMk/>
            <pc:sldMk cId="49807298" sldId="256"/>
            <ac:spMk id="174" creationId="{82CB1396-B268-4F71-B6B9-A0F841FCD34D}"/>
          </ac:spMkLst>
        </pc:spChg>
        <pc:spChg chg="add mod">
          <ac:chgData name="Ugo MANTEL" userId="2d5b7065-31bb-4181-a7f8-a73bf0c30211" providerId="ADAL" clId="{287A013E-B4BE-485E-AE94-C2936752CD18}" dt="2020-10-12T10:03:49.955" v="114328"/>
          <ac:spMkLst>
            <pc:docMk/>
            <pc:sldMk cId="49807298" sldId="256"/>
            <ac:spMk id="175" creationId="{4160291E-B783-4FDD-A513-8686062EE52E}"/>
          </ac:spMkLst>
        </pc:spChg>
        <pc:spChg chg="add mod">
          <ac:chgData name="Ugo MANTEL" userId="2d5b7065-31bb-4181-a7f8-a73bf0c30211" providerId="ADAL" clId="{287A013E-B4BE-485E-AE94-C2936752CD18}" dt="2020-10-12T10:03:49.956" v="114332"/>
          <ac:spMkLst>
            <pc:docMk/>
            <pc:sldMk cId="49807298" sldId="256"/>
            <ac:spMk id="176" creationId="{644F69EF-A319-4637-8C83-7C1750CEDA2E}"/>
          </ac:spMkLst>
        </pc:spChg>
        <pc:spChg chg="add mod">
          <ac:chgData name="Ugo MANTEL" userId="2d5b7065-31bb-4181-a7f8-a73bf0c30211" providerId="ADAL" clId="{287A013E-B4BE-485E-AE94-C2936752CD18}" dt="2020-10-12T10:03:49.956" v="114331"/>
          <ac:spMkLst>
            <pc:docMk/>
            <pc:sldMk cId="49807298" sldId="256"/>
            <ac:spMk id="177" creationId="{0D8561B6-7236-4464-86AB-9E5F521CC4EA}"/>
          </ac:spMkLst>
        </pc:spChg>
        <pc:spChg chg="add del mod">
          <ac:chgData name="Ugo MANTEL" userId="2d5b7065-31bb-4181-a7f8-a73bf0c30211" providerId="ADAL" clId="{287A013E-B4BE-485E-AE94-C2936752CD18}" dt="2020-10-12T10:03:49.958" v="114338"/>
          <ac:spMkLst>
            <pc:docMk/>
            <pc:sldMk cId="49807298" sldId="256"/>
            <ac:spMk id="178" creationId="{75E98BBA-8C56-4DE8-B7AA-3507CF7051C7}"/>
          </ac:spMkLst>
        </pc:spChg>
        <pc:spChg chg="add mod ord">
          <ac:chgData name="Ugo MANTEL" userId="2d5b7065-31bb-4181-a7f8-a73bf0c30211" providerId="ADAL" clId="{287A013E-B4BE-485E-AE94-C2936752CD18}" dt="2020-09-14T11:37:42.503" v="14214"/>
          <ac:spMkLst>
            <pc:docMk/>
            <pc:sldMk cId="49807298" sldId="256"/>
            <ac:spMk id="190" creationId="{BF61EEDF-D034-429D-A69C-17361ABB7F1E}"/>
          </ac:spMkLst>
        </pc:spChg>
        <pc:spChg chg="add del mod">
          <ac:chgData name="Ugo MANTEL" userId="2d5b7065-31bb-4181-a7f8-a73bf0c30211" providerId="ADAL" clId="{287A013E-B4BE-485E-AE94-C2936752CD18}" dt="2020-09-14T11:43:38.472" v="28103"/>
          <ac:spMkLst>
            <pc:docMk/>
            <pc:sldMk cId="49807298" sldId="256"/>
            <ac:spMk id="199" creationId="{A96A8DF0-EA15-42DF-93F2-33C3B23A82D8}"/>
          </ac:spMkLst>
        </pc:spChg>
        <pc:spChg chg="add del mod">
          <ac:chgData name="Ugo MANTEL" userId="2d5b7065-31bb-4181-a7f8-a73bf0c30211" providerId="ADAL" clId="{287A013E-B4BE-485E-AE94-C2936752CD18}" dt="2020-09-14T11:43:38.545" v="28181"/>
          <ac:spMkLst>
            <pc:docMk/>
            <pc:sldMk cId="49807298" sldId="256"/>
            <ac:spMk id="200" creationId="{03CD23E1-F611-4D33-9A0C-1BF01D6A505F}"/>
          </ac:spMkLst>
        </pc:spChg>
        <pc:spChg chg="add del mod ord">
          <ac:chgData name="Ugo MANTEL" userId="2d5b7065-31bb-4181-a7f8-a73bf0c30211" providerId="ADAL" clId="{287A013E-B4BE-485E-AE94-C2936752CD18}" dt="2020-09-14T11:43:38.547" v="28184"/>
          <ac:spMkLst>
            <pc:docMk/>
            <pc:sldMk cId="49807298" sldId="256"/>
            <ac:spMk id="201" creationId="{2C486718-BA5B-448E-BD31-57C648E006D0}"/>
          </ac:spMkLst>
        </pc:spChg>
        <pc:spChg chg="add del mod ord">
          <ac:chgData name="Ugo MANTEL" userId="2d5b7065-31bb-4181-a7f8-a73bf0c30211" providerId="ADAL" clId="{287A013E-B4BE-485E-AE94-C2936752CD18}" dt="2020-09-14T11:43:38.475" v="28108"/>
          <ac:spMkLst>
            <pc:docMk/>
            <pc:sldMk cId="49807298" sldId="256"/>
            <ac:spMk id="202" creationId="{74948DA8-69C2-45E7-BED9-116A03376A60}"/>
          </ac:spMkLst>
        </pc:spChg>
        <pc:spChg chg="add del mod">
          <ac:chgData name="Ugo MANTEL" userId="2d5b7065-31bb-4181-a7f8-a73bf0c30211" providerId="ADAL" clId="{287A013E-B4BE-485E-AE94-C2936752CD18}" dt="2020-09-14T11:43:38.547" v="28185"/>
          <ac:spMkLst>
            <pc:docMk/>
            <pc:sldMk cId="49807298" sldId="256"/>
            <ac:spMk id="203" creationId="{B418D6D9-58B2-4713-9167-A8AEFCEC1BC9}"/>
          </ac:spMkLst>
        </pc:spChg>
        <pc:spChg chg="add del mod">
          <ac:chgData name="Ugo MANTEL" userId="2d5b7065-31bb-4181-a7f8-a73bf0c30211" providerId="ADAL" clId="{287A013E-B4BE-485E-AE94-C2936752CD18}" dt="2020-09-14T11:43:38.477" v="28113"/>
          <ac:spMkLst>
            <pc:docMk/>
            <pc:sldMk cId="49807298" sldId="256"/>
            <ac:spMk id="204" creationId="{D9460EE6-E427-4C24-A21B-8FF49EAF9AB9}"/>
          </ac:spMkLst>
        </pc:spChg>
        <pc:spChg chg="add del mod">
          <ac:chgData name="Ugo MANTEL" userId="2d5b7065-31bb-4181-a7f8-a73bf0c30211" providerId="ADAL" clId="{287A013E-B4BE-485E-AE94-C2936752CD18}" dt="2020-09-14T11:43:38.547" v="28186"/>
          <ac:spMkLst>
            <pc:docMk/>
            <pc:sldMk cId="49807298" sldId="256"/>
            <ac:spMk id="205" creationId="{EDD7FF9A-8768-40C0-97B4-41BD4D9583E3}"/>
          </ac:spMkLst>
        </pc:spChg>
        <pc:spChg chg="add del mod ord">
          <ac:chgData name="Ugo MANTEL" userId="2d5b7065-31bb-4181-a7f8-a73bf0c30211" providerId="ADAL" clId="{287A013E-B4BE-485E-AE94-C2936752CD18}" dt="2020-09-14T11:43:38.478" v="28116"/>
          <ac:spMkLst>
            <pc:docMk/>
            <pc:sldMk cId="49807298" sldId="256"/>
            <ac:spMk id="206" creationId="{8B8443C3-2DFA-4A35-82A2-FD9BF7E111F8}"/>
          </ac:spMkLst>
        </pc:spChg>
        <pc:spChg chg="add mod">
          <ac:chgData name="Ugo MANTEL" userId="2d5b7065-31bb-4181-a7f8-a73bf0c30211" providerId="ADAL" clId="{287A013E-B4BE-485E-AE94-C2936752CD18}" dt="2020-09-14T11:43:25.629" v="27595"/>
          <ac:spMkLst>
            <pc:docMk/>
            <pc:sldMk cId="49807298" sldId="256"/>
            <ac:spMk id="218" creationId="{5CB6F152-F94F-49B0-A694-01B3E47B9A2D}"/>
          </ac:spMkLst>
        </pc:spChg>
        <pc:spChg chg="add del mod">
          <ac:chgData name="Ugo MANTEL" userId="2d5b7065-31bb-4181-a7f8-a73bf0c30211" providerId="ADAL" clId="{287A013E-B4BE-485E-AE94-C2936752CD18}" dt="2020-09-14T11:43:25.629" v="27595"/>
          <ac:spMkLst>
            <pc:docMk/>
            <pc:sldMk cId="49807298" sldId="256"/>
            <ac:spMk id="219" creationId="{EBE8C78D-E0DB-44BA-B74A-97E77955B916}"/>
          </ac:spMkLst>
        </pc:spChg>
        <pc:spChg chg="add mod">
          <ac:chgData name="Ugo MANTEL" userId="2d5b7065-31bb-4181-a7f8-a73bf0c30211" providerId="ADAL" clId="{287A013E-B4BE-485E-AE94-C2936752CD18}" dt="2020-09-14T11:43:25.629" v="27595"/>
          <ac:spMkLst>
            <pc:docMk/>
            <pc:sldMk cId="49807298" sldId="256"/>
            <ac:spMk id="220" creationId="{905168F6-28FF-46C4-926C-7E58852248B7}"/>
          </ac:spMkLst>
        </pc:spChg>
        <pc:spChg chg="add del mod">
          <ac:chgData name="Ugo MANTEL" userId="2d5b7065-31bb-4181-a7f8-a73bf0c30211" providerId="ADAL" clId="{287A013E-B4BE-485E-AE94-C2936752CD18}" dt="2020-09-14T11:43:25.629" v="27595"/>
          <ac:spMkLst>
            <pc:docMk/>
            <pc:sldMk cId="49807298" sldId="256"/>
            <ac:spMk id="221" creationId="{635E430B-1766-490E-9D67-91C356C0DE4D}"/>
          </ac:spMkLst>
        </pc:spChg>
        <pc:spChg chg="add mod">
          <ac:chgData name="Ugo MANTEL" userId="2d5b7065-31bb-4181-a7f8-a73bf0c30211" providerId="ADAL" clId="{287A013E-B4BE-485E-AE94-C2936752CD18}" dt="2020-09-14T11:43:25.629" v="27595"/>
          <ac:spMkLst>
            <pc:docMk/>
            <pc:sldMk cId="49807298" sldId="256"/>
            <ac:spMk id="222" creationId="{2D9913A1-33D3-43CE-9FC1-BE8AAFD87404}"/>
          </ac:spMkLst>
        </pc:spChg>
        <pc:spChg chg="add mod ord">
          <ac:chgData name="Ugo MANTEL" userId="2d5b7065-31bb-4181-a7f8-a73bf0c30211" providerId="ADAL" clId="{287A013E-B4BE-485E-AE94-C2936752CD18}" dt="2020-09-14T11:43:25.629" v="27595"/>
          <ac:spMkLst>
            <pc:docMk/>
            <pc:sldMk cId="49807298" sldId="256"/>
            <ac:spMk id="223" creationId="{88E04E3F-72F7-4851-B62D-33E3CB2F4E85}"/>
          </ac:spMkLst>
        </pc:spChg>
        <pc:spChg chg="add mod">
          <ac:chgData name="Ugo MANTEL" userId="2d5b7065-31bb-4181-a7f8-a73bf0c30211" providerId="ADAL" clId="{287A013E-B4BE-485E-AE94-C2936752CD18}" dt="2020-09-14T11:43:24.638" v="27249"/>
          <ac:spMkLst>
            <pc:docMk/>
            <pc:sldMk cId="49807298" sldId="256"/>
            <ac:spMk id="232" creationId="{9D962898-D11C-4AD3-84B4-DABDC28C4F0B}"/>
          </ac:spMkLst>
        </pc:spChg>
        <pc:spChg chg="add mod ord">
          <ac:chgData name="Ugo MANTEL" userId="2d5b7065-31bb-4181-a7f8-a73bf0c30211" providerId="ADAL" clId="{287A013E-B4BE-485E-AE94-C2936752CD18}" dt="2020-09-14T11:43:24.638" v="27249"/>
          <ac:spMkLst>
            <pc:docMk/>
            <pc:sldMk cId="49807298" sldId="256"/>
            <ac:spMk id="233" creationId="{674293E8-2549-4D53-838D-4091FFBF7473}"/>
          </ac:spMkLst>
        </pc:spChg>
        <pc:spChg chg="add mod">
          <ac:chgData name="Ugo MANTEL" userId="2d5b7065-31bb-4181-a7f8-a73bf0c30211" providerId="ADAL" clId="{287A013E-B4BE-485E-AE94-C2936752CD18}" dt="2020-09-14T11:43:24.638" v="27249"/>
          <ac:spMkLst>
            <pc:docMk/>
            <pc:sldMk cId="49807298" sldId="256"/>
            <ac:spMk id="234" creationId="{EEA34658-60BD-4D39-8684-D8C28AB2E746}"/>
          </ac:spMkLst>
        </pc:spChg>
        <pc:spChg chg="add del mod">
          <ac:chgData name="Ugo MANTEL" userId="2d5b7065-31bb-4181-a7f8-a73bf0c30211" providerId="ADAL" clId="{287A013E-B4BE-485E-AE94-C2936752CD18}" dt="2020-09-14T11:43:24.638" v="27249"/>
          <ac:spMkLst>
            <pc:docMk/>
            <pc:sldMk cId="49807298" sldId="256"/>
            <ac:spMk id="235" creationId="{C31A4C3A-72B3-48C3-A8F2-39979B7602BA}"/>
          </ac:spMkLst>
        </pc:spChg>
        <pc:spChg chg="add mod">
          <ac:chgData name="Ugo MANTEL" userId="2d5b7065-31bb-4181-a7f8-a73bf0c30211" providerId="ADAL" clId="{287A013E-B4BE-485E-AE94-C2936752CD18}" dt="2020-09-14T11:43:24.638" v="27249"/>
          <ac:spMkLst>
            <pc:docMk/>
            <pc:sldMk cId="49807298" sldId="256"/>
            <ac:spMk id="236" creationId="{B1037251-300B-4555-BBB9-75A4A7D3AD17}"/>
          </ac:spMkLst>
        </pc:spChg>
        <pc:spChg chg="add mod ord">
          <ac:chgData name="Ugo MANTEL" userId="2d5b7065-31bb-4181-a7f8-a73bf0c30211" providerId="ADAL" clId="{287A013E-B4BE-485E-AE94-C2936752CD18}" dt="2020-09-14T11:43:24.638" v="27249"/>
          <ac:spMkLst>
            <pc:docMk/>
            <pc:sldMk cId="49807298" sldId="256"/>
            <ac:spMk id="237" creationId="{0C9EF972-52A4-410D-A8B2-C3F9FD28D22C}"/>
          </ac:spMkLst>
        </pc:spChg>
        <pc:graphicFrameChg chg="mod ord">
          <ac:chgData name="Ugo MANTEL" userId="2d5b7065-31bb-4181-a7f8-a73bf0c30211" providerId="ADAL" clId="{287A013E-B4BE-485E-AE94-C2936752CD18}" dt="2020-10-12T10:03:49.963" v="114344"/>
          <ac:graphicFrameMkLst>
            <pc:docMk/>
            <pc:sldMk cId="49807298" sldId="256"/>
            <ac:graphicFrameMk id="44" creationId="{F9AE5294-21FB-443B-AC9E-47D53F909727}"/>
          </ac:graphicFrameMkLst>
        </pc:graphicFrameChg>
        <pc:graphicFrameChg chg="del">
          <ac:chgData name="Ugo MANTEL" userId="2d5b7065-31bb-4181-a7f8-a73bf0c30211" providerId="ADAL" clId="{287A013E-B4BE-485E-AE94-C2936752CD18}" dt="2020-09-14T11:15:42.432" v="205"/>
          <ac:graphicFrameMkLst>
            <pc:docMk/>
            <pc:sldMk cId="49807298" sldId="256"/>
            <ac:graphicFrameMk id="45" creationId="{A4853AA0-AA9C-46D1-A933-371DD27F20F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5:52.569" v="274"/>
          <ac:graphicFrameMkLst>
            <pc:docMk/>
            <pc:sldMk cId="49807298" sldId="256"/>
            <ac:graphicFrameMk id="46" creationId="{4E824F26-01C9-45E7-84F1-D82068F44C5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5:58.612" v="454"/>
          <ac:graphicFrameMkLst>
            <pc:docMk/>
            <pc:sldMk cId="49807298" sldId="256"/>
            <ac:graphicFrameMk id="47" creationId="{0F509ED7-8519-4621-813C-1E9C7B2BD6A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6:00.912" v="529"/>
          <ac:graphicFrameMkLst>
            <pc:docMk/>
            <pc:sldMk cId="49807298" sldId="256"/>
            <ac:graphicFrameMk id="51" creationId="{7578BF5E-E6FE-459C-98CD-B0395AA2368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6:11.226" v="839"/>
          <ac:graphicFrameMkLst>
            <pc:docMk/>
            <pc:sldMk cId="49807298" sldId="256"/>
            <ac:graphicFrameMk id="52" creationId="{ED3D0702-FBB2-411D-9F86-B06DB7CD043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8T17:46:10.995" v="90537"/>
          <ac:graphicFrameMkLst>
            <pc:docMk/>
            <pc:sldMk cId="49807298" sldId="256"/>
            <ac:graphicFrameMk id="54" creationId="{7D055FDC-C8D7-436B-804F-C3A07362685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6:06:27.937" v="80754"/>
          <ac:graphicFrameMkLst>
            <pc:docMk/>
            <pc:sldMk cId="49807298" sldId="256"/>
            <ac:graphicFrameMk id="54" creationId="{BD4DBB85-7258-4EC5-8EC9-AE9C0E58DA4A}"/>
          </ac:graphicFrameMkLst>
        </pc:graphicFrameChg>
        <pc:graphicFrameChg chg="add mod ord">
          <ac:chgData name="Ugo MANTEL" userId="2d5b7065-31bb-4181-a7f8-a73bf0c30211" providerId="ADAL" clId="{287A013E-B4BE-485E-AE94-C2936752CD18}" dt="2020-10-12T10:03:49.942" v="114298"/>
          <ac:graphicFrameMkLst>
            <pc:docMk/>
            <pc:sldMk cId="49807298" sldId="256"/>
            <ac:graphicFrameMk id="54" creationId="{CC177C1A-D952-4681-A463-7D9DBE9CEF8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3:27:54.702" v="32493"/>
          <ac:graphicFrameMkLst>
            <pc:docMk/>
            <pc:sldMk cId="49807298" sldId="256"/>
            <ac:graphicFrameMk id="54" creationId="{EBC14A29-ED38-4C6B-9006-07003881D2F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3:28:03.810" v="32719"/>
          <ac:graphicFrameMkLst>
            <pc:docMk/>
            <pc:sldMk cId="49807298" sldId="256"/>
            <ac:graphicFrameMk id="56" creationId="{3B1AB67F-96A3-4A04-B625-749A0702BAB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6:12.852" v="925"/>
          <ac:graphicFrameMkLst>
            <pc:docMk/>
            <pc:sldMk cId="49807298" sldId="256"/>
            <ac:graphicFrameMk id="56" creationId="{737CCAD4-4EE1-4558-BF21-C776FFF3FB7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8T17:45:56.485" v="90433"/>
          <ac:graphicFrameMkLst>
            <pc:docMk/>
            <pc:sldMk cId="49807298" sldId="256"/>
            <ac:graphicFrameMk id="56" creationId="{E012D933-1A53-4C46-87EC-050B4AAC9E3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6:18.733" v="1218"/>
          <ac:graphicFrameMkLst>
            <pc:docMk/>
            <pc:sldMk cId="49807298" sldId="256"/>
            <ac:graphicFrameMk id="57" creationId="{499978DB-BBE7-4B43-9BC1-7CE66E84E87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2T17:09:02.760" v="71046"/>
          <ac:graphicFrameMkLst>
            <pc:docMk/>
            <pc:sldMk cId="49807298" sldId="256"/>
            <ac:graphicFrameMk id="57" creationId="{53011EE1-FEEE-406A-B7E0-9B80D49A570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8T17:46:33.543" v="90641"/>
          <ac:graphicFrameMkLst>
            <pc:docMk/>
            <pc:sldMk cId="49807298" sldId="256"/>
            <ac:graphicFrameMk id="57" creationId="{54827A77-1561-4A5B-ACAA-3D9B4DA7F10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6:35.463" v="2112"/>
          <ac:graphicFrameMkLst>
            <pc:docMk/>
            <pc:sldMk cId="49807298" sldId="256"/>
            <ac:graphicFrameMk id="58" creationId="{84799C00-59E0-4156-9409-29E9BD4380D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10-12T10:03:49.902" v="114260"/>
          <ac:graphicFrameMkLst>
            <pc:docMk/>
            <pc:sldMk cId="49807298" sldId="256"/>
            <ac:graphicFrameMk id="58" creationId="{A04A53C9-E3A7-4379-9B72-B69CC8032E4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2T17:09:09.013" v="71218"/>
          <ac:graphicFrameMkLst>
            <pc:docMk/>
            <pc:sldMk cId="49807298" sldId="256"/>
            <ac:graphicFrameMk id="59" creationId="{7E6C3A25-5AAE-4944-80C3-F863EDDCA807}"/>
          </ac:graphicFrameMkLst>
        </pc:graphicFrameChg>
        <pc:graphicFrameChg chg="add mod ord">
          <ac:chgData name="Ugo MANTEL" userId="2d5b7065-31bb-4181-a7f8-a73bf0c30211" providerId="ADAL" clId="{287A013E-B4BE-485E-AE94-C2936752CD18}" dt="2020-09-14T11:16:25.893" v="1722"/>
          <ac:graphicFrameMkLst>
            <pc:docMk/>
            <pc:sldMk cId="49807298" sldId="256"/>
            <ac:graphicFrameMk id="61" creationId="{9B7C48B1-5567-48B6-8288-62BF4372277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6:49.386" v="2185"/>
          <ac:graphicFrameMkLst>
            <pc:docMk/>
            <pc:sldMk cId="49807298" sldId="256"/>
            <ac:graphicFrameMk id="62" creationId="{7229BD1F-2747-4A06-B584-D9E2AF087D9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6:50.861" v="2258"/>
          <ac:graphicFrameMkLst>
            <pc:docMk/>
            <pc:sldMk cId="49807298" sldId="256"/>
            <ac:graphicFrameMk id="63" creationId="{B1CD7E0B-2BAA-48F5-BF91-445C6D3D4D3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6:51.219" v="2342"/>
          <ac:graphicFrameMkLst>
            <pc:docMk/>
            <pc:sldMk cId="49807298" sldId="256"/>
            <ac:graphicFrameMk id="64" creationId="{C1B84AFA-6DD3-4E05-A781-3A37EF2CF92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2T17:09:13.222" v="71398"/>
          <ac:graphicFrameMkLst>
            <pc:docMk/>
            <pc:sldMk cId="49807298" sldId="256"/>
            <ac:graphicFrameMk id="66" creationId="{09BB7A7F-A5D0-4939-AC85-72924F944E5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6:54.456" v="2415"/>
          <ac:graphicFrameMkLst>
            <pc:docMk/>
            <pc:sldMk cId="49807298" sldId="256"/>
            <ac:graphicFrameMk id="66" creationId="{F1389ED7-4FF8-402D-B395-1B5217E6765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6:55.524" v="2499"/>
          <ac:graphicFrameMkLst>
            <pc:docMk/>
            <pc:sldMk cId="49807298" sldId="256"/>
            <ac:graphicFrameMk id="67" creationId="{397F9078-7AE8-44E0-A6BA-434FA90B90F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7:48.791" v="2589"/>
          <ac:graphicFrameMkLst>
            <pc:docMk/>
            <pc:sldMk cId="49807298" sldId="256"/>
            <ac:graphicFrameMk id="69" creationId="{56190397-7DCB-426D-9CA3-EB73E41CA7D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7:49.738" v="2668"/>
          <ac:graphicFrameMkLst>
            <pc:docMk/>
            <pc:sldMk cId="49807298" sldId="256"/>
            <ac:graphicFrameMk id="70" creationId="{CC79A00E-16B4-49E1-BB23-74FB4062E72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8:04.410" v="2757"/>
          <ac:graphicFrameMkLst>
            <pc:docMk/>
            <pc:sldMk cId="49807298" sldId="256"/>
            <ac:graphicFrameMk id="71" creationId="{3E3AAAF3-CD15-4624-9C98-13256511832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2T17:09:16.838" v="71586"/>
          <ac:graphicFrameMkLst>
            <pc:docMk/>
            <pc:sldMk cId="49807298" sldId="256"/>
            <ac:graphicFrameMk id="71" creationId="{7DEBCF24-C9F7-4EB3-B6CC-C7E47E2AD78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8:08.129" v="2849"/>
          <ac:graphicFrameMkLst>
            <pc:docMk/>
            <pc:sldMk cId="49807298" sldId="256"/>
            <ac:graphicFrameMk id="72" creationId="{B40D8F5A-35AE-45F2-A619-4AC1B46C5A6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8:10.532" v="2942"/>
          <ac:graphicFrameMkLst>
            <pc:docMk/>
            <pc:sldMk cId="49807298" sldId="256"/>
            <ac:graphicFrameMk id="73" creationId="{0A17B979-5A7F-4928-A81C-276E91E4E2A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8:13.867" v="3031"/>
          <ac:graphicFrameMkLst>
            <pc:docMk/>
            <pc:sldMk cId="49807298" sldId="256"/>
            <ac:graphicFrameMk id="74" creationId="{AAEC3FF0-D86D-4941-95E3-426C53D1D57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8:16.383" v="3123"/>
          <ac:graphicFrameMkLst>
            <pc:docMk/>
            <pc:sldMk cId="49807298" sldId="256"/>
            <ac:graphicFrameMk id="75" creationId="{ED36D79E-98BC-4BF7-97B3-C2A5D307BCD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8:20.855" v="3216"/>
          <ac:graphicFrameMkLst>
            <pc:docMk/>
            <pc:sldMk cId="49807298" sldId="256"/>
            <ac:graphicFrameMk id="76" creationId="{52056008-E51D-4AEA-A238-008330FF081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2T17:09:38.905" v="71762"/>
          <ac:graphicFrameMkLst>
            <pc:docMk/>
            <pc:sldMk cId="49807298" sldId="256"/>
            <ac:graphicFrameMk id="77" creationId="{AF26DDE6-2825-4D6C-848F-8FD25E0B524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8:26.824" v="3305"/>
          <ac:graphicFrameMkLst>
            <pc:docMk/>
            <pc:sldMk cId="49807298" sldId="256"/>
            <ac:graphicFrameMk id="77" creationId="{E38C5EB8-0CE5-4FA4-8D45-46E3D1D609D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8:28.519" v="3397"/>
          <ac:graphicFrameMkLst>
            <pc:docMk/>
            <pc:sldMk cId="49807298" sldId="256"/>
            <ac:graphicFrameMk id="78" creationId="{43FFC4C8-E1B6-4179-A916-085AEB759F8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2T17:11:06.713" v="73012"/>
          <ac:graphicFrameMkLst>
            <pc:docMk/>
            <pc:sldMk cId="49807298" sldId="256"/>
            <ac:graphicFrameMk id="78" creationId="{BE033BBC-889E-4975-A63C-41CBF3FBE72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8:30.824" v="3490"/>
          <ac:graphicFrameMkLst>
            <pc:docMk/>
            <pc:sldMk cId="49807298" sldId="256"/>
            <ac:graphicFrameMk id="79" creationId="{7B5F6913-0681-4A80-8298-D418098AECB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8:41.924" v="3569"/>
          <ac:graphicFrameMkLst>
            <pc:docMk/>
            <pc:sldMk cId="49807298" sldId="256"/>
            <ac:graphicFrameMk id="80" creationId="{D254D2EC-2461-4452-AD9E-D983B0EB7D9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8:49.002" v="3875"/>
          <ac:graphicFrameMkLst>
            <pc:docMk/>
            <pc:sldMk cId="49807298" sldId="256"/>
            <ac:graphicFrameMk id="81" creationId="{17CFDB63-14A0-4372-AE89-8A80B00A568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8:51.788" v="4017"/>
          <ac:graphicFrameMkLst>
            <pc:docMk/>
            <pc:sldMk cId="49807298" sldId="256"/>
            <ac:graphicFrameMk id="84" creationId="{34E870CE-E0BA-4878-B3CC-B92BF1233D3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8:54.352" v="4096"/>
          <ac:graphicFrameMkLst>
            <pc:docMk/>
            <pc:sldMk cId="49807298" sldId="256"/>
            <ac:graphicFrameMk id="86" creationId="{27D62128-74AB-4343-B09F-3A4A2DEB5FF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8:55.604" v="4238"/>
          <ac:graphicFrameMkLst>
            <pc:docMk/>
            <pc:sldMk cId="49807298" sldId="256"/>
            <ac:graphicFrameMk id="87" creationId="{D9AD3D96-7A9B-441A-888F-540308B82B3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8:56.349" v="4317"/>
          <ac:graphicFrameMkLst>
            <pc:docMk/>
            <pc:sldMk cId="49807298" sldId="256"/>
            <ac:graphicFrameMk id="89" creationId="{608FADE8-6B60-4D10-8F00-FDF370FE5F6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8:58.716" v="4459"/>
          <ac:graphicFrameMkLst>
            <pc:docMk/>
            <pc:sldMk cId="49807298" sldId="256"/>
            <ac:graphicFrameMk id="90" creationId="{1F000B83-1708-48B2-AEE0-80D8556E9E0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2T17:10:34.459" v="72872"/>
          <ac:graphicFrameMkLst>
            <pc:docMk/>
            <pc:sldMk cId="49807298" sldId="256"/>
            <ac:graphicFrameMk id="91" creationId="{E88734B8-CFE6-4FD3-AAC0-DA51C050BAA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8:59.493" v="4538"/>
          <ac:graphicFrameMkLst>
            <pc:docMk/>
            <pc:sldMk cId="49807298" sldId="256"/>
            <ac:graphicFrameMk id="92" creationId="{1CACB047-4B33-42AE-B95E-E8865D73672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6:06:24.908" v="80668"/>
          <ac:graphicFrameMkLst>
            <pc:docMk/>
            <pc:sldMk cId="49807298" sldId="256"/>
            <ac:graphicFrameMk id="92" creationId="{DD50B61D-16B1-417F-B388-932BBF39DA8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8:59.759" v="4680"/>
          <ac:graphicFrameMkLst>
            <pc:docMk/>
            <pc:sldMk cId="49807298" sldId="256"/>
            <ac:graphicFrameMk id="93" creationId="{226ABCD3-DF6E-4BF8-B685-9FFF2013822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9:00.824" v="4759"/>
          <ac:graphicFrameMkLst>
            <pc:docMk/>
            <pc:sldMk cId="49807298" sldId="256"/>
            <ac:graphicFrameMk id="95" creationId="{EC0E8C20-3D0E-4204-919F-9A7C5FDD0B2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9:02.133" v="4901"/>
          <ac:graphicFrameMkLst>
            <pc:docMk/>
            <pc:sldMk cId="49807298" sldId="256"/>
            <ac:graphicFrameMk id="96" creationId="{28217BD8-696C-4A1D-8F9C-7BB0B9FCE48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9:05.466" v="4980"/>
          <ac:graphicFrameMkLst>
            <pc:docMk/>
            <pc:sldMk cId="49807298" sldId="256"/>
            <ac:graphicFrameMk id="98" creationId="{2FCE9EAD-209E-4AC1-8FAA-39762AC0424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9:08.139" v="5122"/>
          <ac:graphicFrameMkLst>
            <pc:docMk/>
            <pc:sldMk cId="49807298" sldId="256"/>
            <ac:graphicFrameMk id="99" creationId="{218C4BE8-4A4A-47A1-92E0-67E7B1701EF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9:09.486" v="5201"/>
          <ac:graphicFrameMkLst>
            <pc:docMk/>
            <pc:sldMk cId="49807298" sldId="256"/>
            <ac:graphicFrameMk id="101" creationId="{A113F432-FC30-4901-BAED-9E711959976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9:09.685" v="5343"/>
          <ac:graphicFrameMkLst>
            <pc:docMk/>
            <pc:sldMk cId="49807298" sldId="256"/>
            <ac:graphicFrameMk id="102" creationId="{84B8C99A-9C68-4798-AE7A-4E1CD26FD08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9:11.993" v="5422"/>
          <ac:graphicFrameMkLst>
            <pc:docMk/>
            <pc:sldMk cId="49807298" sldId="256"/>
            <ac:graphicFrameMk id="104" creationId="{1864BC19-C7D0-467D-AA6B-B50142656C3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9:13.335" v="5564"/>
          <ac:graphicFrameMkLst>
            <pc:docMk/>
            <pc:sldMk cId="49807298" sldId="256"/>
            <ac:graphicFrameMk id="105" creationId="{F6966160-2C37-410E-8464-C54DB135DBD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19:21.603" v="5643"/>
          <ac:graphicFrameMkLst>
            <pc:docMk/>
            <pc:sldMk cId="49807298" sldId="256"/>
            <ac:graphicFrameMk id="107" creationId="{07B7616D-7372-48D3-9C93-E6DA407C19B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0:05.388" v="5720"/>
          <ac:graphicFrameMkLst>
            <pc:docMk/>
            <pc:sldMk cId="49807298" sldId="256"/>
            <ac:graphicFrameMk id="108" creationId="{8B185D15-ECE3-48B1-9F24-007B1AB04AF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0:10.219" v="5797"/>
          <ac:graphicFrameMkLst>
            <pc:docMk/>
            <pc:sldMk cId="49807298" sldId="256"/>
            <ac:graphicFrameMk id="109" creationId="{DCCDC564-224C-45BC-A0EA-ED57DB1908D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0:17.419" v="5874"/>
          <ac:graphicFrameMkLst>
            <pc:docMk/>
            <pc:sldMk cId="49807298" sldId="256"/>
            <ac:graphicFrameMk id="110" creationId="{784769DD-7A08-4051-8A85-9BAAD69E2A0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0:29.248" v="5951"/>
          <ac:graphicFrameMkLst>
            <pc:docMk/>
            <pc:sldMk cId="49807298" sldId="256"/>
            <ac:graphicFrameMk id="111" creationId="{9C339B03-B25E-4899-929B-B146E5D1E8A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0:31.955" v="6028"/>
          <ac:graphicFrameMkLst>
            <pc:docMk/>
            <pc:sldMk cId="49807298" sldId="256"/>
            <ac:graphicFrameMk id="112" creationId="{9EB6B84B-E794-4992-9FE6-0048EC0D8C8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0:44.447" v="6105"/>
          <ac:graphicFrameMkLst>
            <pc:docMk/>
            <pc:sldMk cId="49807298" sldId="256"/>
            <ac:graphicFrameMk id="113" creationId="{75F2F06D-383C-41B0-A9C4-71796038157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0:50.623" v="6182"/>
          <ac:graphicFrameMkLst>
            <pc:docMk/>
            <pc:sldMk cId="49807298" sldId="256"/>
            <ac:graphicFrameMk id="114" creationId="{BFB6CE87-2A23-46AA-9A73-52731E9F68F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0:53.998" v="6259"/>
          <ac:graphicFrameMkLst>
            <pc:docMk/>
            <pc:sldMk cId="49807298" sldId="256"/>
            <ac:graphicFrameMk id="115" creationId="{EEDD90CF-FDAA-4E73-8328-3CF2F3173C1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1:22.124" v="7853"/>
          <ac:graphicFrameMkLst>
            <pc:docMk/>
            <pc:sldMk cId="49807298" sldId="256"/>
            <ac:graphicFrameMk id="116" creationId="{BA912048-63C1-4F03-9BA7-6A0B73C96C90}"/>
          </ac:graphicFrameMkLst>
        </pc:graphicFrameChg>
        <pc:graphicFrameChg chg="add mod ord">
          <ac:chgData name="Ugo MANTEL" userId="2d5b7065-31bb-4181-a7f8-a73bf0c30211" providerId="ADAL" clId="{287A013E-B4BE-485E-AE94-C2936752CD18}" dt="2020-09-14T11:21:16.423" v="7437"/>
          <ac:graphicFrameMkLst>
            <pc:docMk/>
            <pc:sldMk cId="49807298" sldId="256"/>
            <ac:graphicFrameMk id="130" creationId="{43F78E81-FAF9-4D30-88BE-2A16CF9F1FE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1:26.730" v="7932"/>
          <ac:graphicFrameMkLst>
            <pc:docMk/>
            <pc:sldMk cId="49807298" sldId="256"/>
            <ac:graphicFrameMk id="132" creationId="{69D3A85E-ABDF-4F58-8D39-CF56C0989F3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1:29.799" v="8074"/>
          <ac:graphicFrameMkLst>
            <pc:docMk/>
            <pc:sldMk cId="49807298" sldId="256"/>
            <ac:graphicFrameMk id="133" creationId="{71468215-79AA-4133-B95E-0BB8F6FD35D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1:30.896" v="8153"/>
          <ac:graphicFrameMkLst>
            <pc:docMk/>
            <pc:sldMk cId="49807298" sldId="256"/>
            <ac:graphicFrameMk id="135" creationId="{1E6D765A-E6F2-4058-835D-E495E9FF370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1:31.890" v="8295"/>
          <ac:graphicFrameMkLst>
            <pc:docMk/>
            <pc:sldMk cId="49807298" sldId="256"/>
            <ac:graphicFrameMk id="136" creationId="{D34D29C3-FB8B-4E48-B925-9231C4C0867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1:38.245" v="8374"/>
          <ac:graphicFrameMkLst>
            <pc:docMk/>
            <pc:sldMk cId="49807298" sldId="256"/>
            <ac:graphicFrameMk id="138" creationId="{7C53F2FE-EF26-4842-AF87-1222C7DB169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1:39.100" v="8516"/>
          <ac:graphicFrameMkLst>
            <pc:docMk/>
            <pc:sldMk cId="49807298" sldId="256"/>
            <ac:graphicFrameMk id="139" creationId="{A1848265-5CF1-45CA-96C4-FF09D79766C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1:41.137" v="8661"/>
          <ac:graphicFrameMkLst>
            <pc:docMk/>
            <pc:sldMk cId="49807298" sldId="256"/>
            <ac:graphicFrameMk id="141" creationId="{1F97951B-3066-46A3-9B9B-0328ED7AF0D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1:43.129" v="8740"/>
          <ac:graphicFrameMkLst>
            <pc:docMk/>
            <pc:sldMk cId="49807298" sldId="256"/>
            <ac:graphicFrameMk id="143" creationId="{4A500A11-61CB-4D4F-A3D9-76CA04A7C9E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1:48.769" v="8827"/>
          <ac:graphicFrameMkLst>
            <pc:docMk/>
            <pc:sldMk cId="49807298" sldId="256"/>
            <ac:graphicFrameMk id="144" creationId="{D51FC965-2C4A-483B-AE8C-5A1FE943FD3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1:50.059" v="8970"/>
          <ac:graphicFrameMkLst>
            <pc:docMk/>
            <pc:sldMk cId="49807298" sldId="256"/>
            <ac:graphicFrameMk id="145" creationId="{9305351F-D904-4237-8D7C-3B7D54A09CB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1:51.822" v="9049"/>
          <ac:graphicFrameMkLst>
            <pc:docMk/>
            <pc:sldMk cId="49807298" sldId="256"/>
            <ac:graphicFrameMk id="147" creationId="{9E4AE516-7005-4992-A98D-36A4B65D3D1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1:52.244" v="9136"/>
          <ac:graphicFrameMkLst>
            <pc:docMk/>
            <pc:sldMk cId="49807298" sldId="256"/>
            <ac:graphicFrameMk id="148" creationId="{2A779804-5560-4CC7-B202-7090FDF35F0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1:57.540" v="9219"/>
          <ac:graphicFrameMkLst>
            <pc:docMk/>
            <pc:sldMk cId="49807298" sldId="256"/>
            <ac:graphicFrameMk id="149" creationId="{3989B0A7-1063-485D-B9BE-ED1754C2FA7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2:26.583" v="9316"/>
          <ac:graphicFrameMkLst>
            <pc:docMk/>
            <pc:sldMk cId="49807298" sldId="256"/>
            <ac:graphicFrameMk id="150" creationId="{C70BD2B0-7746-4360-A7A5-934DF9E7487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2:29.615" v="9397"/>
          <ac:graphicFrameMkLst>
            <pc:docMk/>
            <pc:sldMk cId="49807298" sldId="256"/>
            <ac:graphicFrameMk id="151" creationId="{C5AE594A-C90A-4CD9-B9AB-73DCCB83A62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2:35.085" v="9486"/>
          <ac:graphicFrameMkLst>
            <pc:docMk/>
            <pc:sldMk cId="49807298" sldId="256"/>
            <ac:graphicFrameMk id="152" creationId="{19248764-24D6-42F7-8030-51FA5639D95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2:36.838" v="9571"/>
          <ac:graphicFrameMkLst>
            <pc:docMk/>
            <pc:sldMk cId="49807298" sldId="256"/>
            <ac:graphicFrameMk id="153" creationId="{26479FCF-1B3E-45D8-BF95-AC7EAAE3AD5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2:37.839" v="9711"/>
          <ac:graphicFrameMkLst>
            <pc:docMk/>
            <pc:sldMk cId="49807298" sldId="256"/>
            <ac:graphicFrameMk id="154" creationId="{75A9C245-2211-424A-9227-59741FD06D0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2:39.415" v="9788"/>
          <ac:graphicFrameMkLst>
            <pc:docMk/>
            <pc:sldMk cId="49807298" sldId="256"/>
            <ac:graphicFrameMk id="156" creationId="{F484C488-2099-429A-8744-88944F4FA9C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2:39.562" v="9875"/>
          <ac:graphicFrameMkLst>
            <pc:docMk/>
            <pc:sldMk cId="49807298" sldId="256"/>
            <ac:graphicFrameMk id="157" creationId="{8211ABC4-B254-480E-95B2-1F79BE9C58A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2:51.933" v="10168"/>
          <ac:graphicFrameMkLst>
            <pc:docMk/>
            <pc:sldMk cId="49807298" sldId="256"/>
            <ac:graphicFrameMk id="158" creationId="{C93ED2D8-8D27-4F78-8F75-83C641BDA53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3:04.748" v="11112"/>
          <ac:graphicFrameMkLst>
            <pc:docMk/>
            <pc:sldMk cId="49807298" sldId="256"/>
            <ac:graphicFrameMk id="159" creationId="{DFDE0562-459D-4068-93FB-207D3AC78515}"/>
          </ac:graphicFrameMkLst>
        </pc:graphicFrameChg>
        <pc:graphicFrameChg chg="add mod ord">
          <ac:chgData name="Ugo MANTEL" userId="2d5b7065-31bb-4181-a7f8-a73bf0c30211" providerId="ADAL" clId="{287A013E-B4BE-485E-AE94-C2936752CD18}" dt="2020-09-14T11:22:57.002" v="10478"/>
          <ac:graphicFrameMkLst>
            <pc:docMk/>
            <pc:sldMk cId="49807298" sldId="256"/>
            <ac:graphicFrameMk id="160" creationId="{8A6A88DB-F54D-4D82-8F80-70ECE2BEA05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3:11.088" v="11303"/>
          <ac:graphicFrameMkLst>
            <pc:docMk/>
            <pc:sldMk cId="49807298" sldId="256"/>
            <ac:graphicFrameMk id="162" creationId="{B0845CD0-C8AF-498F-BEEF-A14F5846898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23:16.137" v="11596"/>
          <ac:graphicFrameMkLst>
            <pc:docMk/>
            <pc:sldMk cId="49807298" sldId="256"/>
            <ac:graphicFrameMk id="163" creationId="{8EE5A084-B721-4EEE-A79E-53DF7B79954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35:54.002" v="11734"/>
          <ac:graphicFrameMkLst>
            <pc:docMk/>
            <pc:sldMk cId="49807298" sldId="256"/>
            <ac:graphicFrameMk id="164" creationId="{4E6A62C3-9E76-48A0-AF55-B75D40B9FEC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35:58.185" v="12653"/>
          <ac:graphicFrameMkLst>
            <pc:docMk/>
            <pc:sldMk cId="49807298" sldId="256"/>
            <ac:graphicFrameMk id="166" creationId="{CCD16C21-B987-4A48-8EC7-8472CDDABB7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36:01.226" v="12906"/>
          <ac:graphicFrameMkLst>
            <pc:docMk/>
            <pc:sldMk cId="49807298" sldId="256"/>
            <ac:graphicFrameMk id="179" creationId="{0549A521-D172-4C23-8E16-9186F9A7E2B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36:02.573" v="12991"/>
          <ac:graphicFrameMkLst>
            <pc:docMk/>
            <pc:sldMk cId="49807298" sldId="256"/>
            <ac:graphicFrameMk id="180" creationId="{16E67091-2F61-4488-8CAE-F755B89996B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36:23.139" v="13076"/>
          <ac:graphicFrameMkLst>
            <pc:docMk/>
            <pc:sldMk cId="49807298" sldId="256"/>
            <ac:graphicFrameMk id="181" creationId="{FEF05CD1-3F6A-430B-AA92-3EFA6CDC19D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36:25.778" v="13161"/>
          <ac:graphicFrameMkLst>
            <pc:docMk/>
            <pc:sldMk cId="49807298" sldId="256"/>
            <ac:graphicFrameMk id="182" creationId="{2457DBA0-61CC-4978-B4BF-8F9D034E4A2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36:41.428" v="13246"/>
          <ac:graphicFrameMkLst>
            <pc:docMk/>
            <pc:sldMk cId="49807298" sldId="256"/>
            <ac:graphicFrameMk id="183" creationId="{3FE6BA60-F0FE-43F2-9F0F-BB1BB9104C9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36:58.957" v="13331"/>
          <ac:graphicFrameMkLst>
            <pc:docMk/>
            <pc:sldMk cId="49807298" sldId="256"/>
            <ac:graphicFrameMk id="184" creationId="{3AA937DB-1F10-4113-A0AB-2FD04FE090D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37:07.513" v="13433"/>
          <ac:graphicFrameMkLst>
            <pc:docMk/>
            <pc:sldMk cId="49807298" sldId="256"/>
            <ac:graphicFrameMk id="185" creationId="{85026A90-46B6-42AB-B6E0-A672EFFEBCF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37:17.406" v="13737"/>
          <ac:graphicFrameMkLst>
            <pc:docMk/>
            <pc:sldMk cId="49807298" sldId="256"/>
            <ac:graphicFrameMk id="187" creationId="{B47436F1-F9AD-4318-BBC8-15F336C7AB5F}"/>
          </ac:graphicFrameMkLst>
        </pc:graphicFrameChg>
        <pc:graphicFrameChg chg="add mod ord">
          <ac:chgData name="Ugo MANTEL" userId="2d5b7065-31bb-4181-a7f8-a73bf0c30211" providerId="ADAL" clId="{287A013E-B4BE-485E-AE94-C2936752CD18}" dt="2020-09-14T11:37:13.981" v="13646"/>
          <ac:graphicFrameMkLst>
            <pc:docMk/>
            <pc:sldMk cId="49807298" sldId="256"/>
            <ac:graphicFrameMk id="188" creationId="{F638E3B2-96F5-436A-9E59-619866CDE59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39:26.714" v="14763"/>
          <ac:graphicFrameMkLst>
            <pc:docMk/>
            <pc:sldMk cId="49807298" sldId="256"/>
            <ac:graphicFrameMk id="189" creationId="{3570DE36-B42C-4E38-AC71-8AE618783ADA}"/>
          </ac:graphicFrameMkLst>
        </pc:graphicFrameChg>
        <pc:graphicFrameChg chg="add mod ord">
          <ac:chgData name="Ugo MANTEL" userId="2d5b7065-31bb-4181-a7f8-a73bf0c30211" providerId="ADAL" clId="{287A013E-B4BE-485E-AE94-C2936752CD18}" dt="2020-09-14T11:37:42.503" v="14214"/>
          <ac:graphicFrameMkLst>
            <pc:docMk/>
            <pc:sldMk cId="49807298" sldId="256"/>
            <ac:graphicFrameMk id="198" creationId="{3549D36B-3BB0-4DEE-BDD5-8138BE6C148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39:34.911" v="15087"/>
          <ac:graphicFrameMkLst>
            <pc:docMk/>
            <pc:sldMk cId="49807298" sldId="256"/>
            <ac:graphicFrameMk id="215" creationId="{84A545D1-2148-46C8-B137-A9EC2340120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36.267" v="27994"/>
          <ac:graphicFrameMkLst>
            <pc:docMk/>
            <pc:sldMk cId="49807298" sldId="256"/>
            <ac:graphicFrameMk id="216" creationId="{44BD9DA6-518B-45B1-8FBF-F9AABD2C34E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26.168" v="27689"/>
          <ac:graphicFrameMkLst>
            <pc:docMk/>
            <pc:sldMk cId="49807298" sldId="256"/>
            <ac:graphicFrameMk id="217" creationId="{CFF3837F-502A-488A-84DA-80A29244EE6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25.629" v="27595"/>
          <ac:graphicFrameMkLst>
            <pc:docMk/>
            <pc:sldMk cId="49807298" sldId="256"/>
            <ac:graphicFrameMk id="229" creationId="{BFFF4FEE-C7EE-4636-8366-DB539BC5EDC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25.311" v="27467"/>
          <ac:graphicFrameMkLst>
            <pc:docMk/>
            <pc:sldMk cId="49807298" sldId="256"/>
            <ac:graphicFrameMk id="230" creationId="{AAAEE040-71AB-48E9-971B-2F9CECF236D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24.954" v="27355"/>
          <ac:graphicFrameMkLst>
            <pc:docMk/>
            <pc:sldMk cId="49807298" sldId="256"/>
            <ac:graphicFrameMk id="231" creationId="{C127F7E3-F7E7-4818-A318-0ECB0C8A59D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24.638" v="27249"/>
          <ac:graphicFrameMkLst>
            <pc:docMk/>
            <pc:sldMk cId="49807298" sldId="256"/>
            <ac:graphicFrameMk id="243" creationId="{61645C0D-ADD1-4F9D-8F23-00E7811AEEB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24.132" v="27106"/>
          <ac:graphicFrameMkLst>
            <pc:docMk/>
            <pc:sldMk cId="49807298" sldId="256"/>
            <ac:graphicFrameMk id="244" creationId="{7C34C24B-EAC2-4F03-939D-F215AA79237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23.829" v="26981"/>
          <ac:graphicFrameMkLst>
            <pc:docMk/>
            <pc:sldMk cId="49807298" sldId="256"/>
            <ac:graphicFrameMk id="245" creationId="{40E68280-14B7-4916-85BD-73492A94AE9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23.497" v="26856"/>
          <ac:graphicFrameMkLst>
            <pc:docMk/>
            <pc:sldMk cId="49807298" sldId="256"/>
            <ac:graphicFrameMk id="246" creationId="{2827477B-5888-45D5-953D-477894F1101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23.062" v="26799"/>
          <ac:graphicFrameMkLst>
            <pc:docMk/>
            <pc:sldMk cId="49807298" sldId="256"/>
            <ac:graphicFrameMk id="247" creationId="{A15F8662-DBDC-4CF1-8025-32BA351333F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22.559" v="26742"/>
          <ac:graphicFrameMkLst>
            <pc:docMk/>
            <pc:sldMk cId="49807298" sldId="256"/>
            <ac:graphicFrameMk id="248" creationId="{FA1E2EB3-5111-4F6D-BC65-37823A300DB2}"/>
          </ac:graphicFrameMkLst>
        </pc:graphicFrameChg>
        <pc:graphicFrameChg chg="add mod ord">
          <ac:chgData name="Ugo MANTEL" userId="2d5b7065-31bb-4181-a7f8-a73bf0c30211" providerId="ADAL" clId="{287A013E-B4BE-485E-AE94-C2936752CD18}" dt="2020-09-14T11:40:52.147" v="18599"/>
          <ac:graphicFrameMkLst>
            <pc:docMk/>
            <pc:sldMk cId="49807298" sldId="256"/>
            <ac:graphicFrameMk id="249" creationId="{59D9A98F-1EDA-4B41-A3A9-DE80A213AEE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21.655" v="26589"/>
          <ac:graphicFrameMkLst>
            <pc:docMk/>
            <pc:sldMk cId="49807298" sldId="256"/>
            <ac:graphicFrameMk id="250" creationId="{C2DBBE50-9B42-46F4-B630-C3CA1FCFB6C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21.655" v="26589"/>
          <ac:graphicFrameMkLst>
            <pc:docMk/>
            <pc:sldMk cId="49807298" sldId="256"/>
            <ac:graphicFrameMk id="251" creationId="{49143105-ED5F-4BF7-AB8F-8828CD28A07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21.376" v="26491"/>
          <ac:graphicFrameMkLst>
            <pc:docMk/>
            <pc:sldMk cId="49807298" sldId="256"/>
            <ac:graphicFrameMk id="254" creationId="{BB9294AC-7B2F-4531-8BD5-D9906C42A8A5}"/>
          </ac:graphicFrameMkLst>
        </pc:graphicFrameChg>
        <pc:graphicFrameChg chg="add mod ord">
          <ac:chgData name="Ugo MANTEL" userId="2d5b7065-31bb-4181-a7f8-a73bf0c30211" providerId="ADAL" clId="{287A013E-B4BE-485E-AE94-C2936752CD18}" dt="2020-09-14T11:43:21.376" v="26491"/>
          <ac:graphicFrameMkLst>
            <pc:docMk/>
            <pc:sldMk cId="49807298" sldId="256"/>
            <ac:graphicFrameMk id="255" creationId="{36E43BD3-0380-4A12-9B73-E55BB219C62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38.633" v="28340"/>
          <ac:graphicFrameMkLst>
            <pc:docMk/>
            <pc:sldMk cId="49807298" sldId="256"/>
            <ac:graphicFrameMk id="256" creationId="{7F26725A-C2DF-471E-9C4E-1ECAAA6AD7C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47.318" v="28788"/>
          <ac:graphicFrameMkLst>
            <pc:docMk/>
            <pc:sldMk cId="49807298" sldId="256"/>
            <ac:graphicFrameMk id="257" creationId="{7817EF82-B5F2-46DC-82AA-A1AB5735086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48.449" v="28874"/>
          <ac:graphicFrameMkLst>
            <pc:docMk/>
            <pc:sldMk cId="49807298" sldId="256"/>
            <ac:graphicFrameMk id="258" creationId="{3E38A12F-C5CA-4DFD-8A35-E99D5DE0F8C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4:04.740" v="28960"/>
          <ac:graphicFrameMkLst>
            <pc:docMk/>
            <pc:sldMk cId="49807298" sldId="256"/>
            <ac:graphicFrameMk id="259" creationId="{D5D625E1-3602-4CC4-A0E2-9B7E8C890B4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4:10.856" v="29162"/>
          <ac:graphicFrameMkLst>
            <pc:docMk/>
            <pc:sldMk cId="49807298" sldId="256"/>
            <ac:graphicFrameMk id="260" creationId="{7AD3FA8B-92C0-4442-A466-301F0DDA375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4:12.336" v="29248"/>
          <ac:graphicFrameMkLst>
            <pc:docMk/>
            <pc:sldMk cId="49807298" sldId="256"/>
            <ac:graphicFrameMk id="261" creationId="{DC730D44-378A-44C7-9DAD-6D5E0A8522E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4:32.125" v="29516"/>
          <ac:graphicFrameMkLst>
            <pc:docMk/>
            <pc:sldMk cId="49807298" sldId="256"/>
            <ac:graphicFrameMk id="262" creationId="{3AF8AFE1-2A28-409B-8E86-2B4A6AF3D44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4:40.620" v="29784"/>
          <ac:graphicFrameMkLst>
            <pc:docMk/>
            <pc:sldMk cId="49807298" sldId="256"/>
            <ac:graphicFrameMk id="263" creationId="{C0198008-CF8A-4648-A90A-5FE6BBB6C1C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4:40.927" v="29870"/>
          <ac:graphicFrameMkLst>
            <pc:docMk/>
            <pc:sldMk cId="49807298" sldId="256"/>
            <ac:graphicFrameMk id="264" creationId="{543659AA-B4CB-4213-A112-D538A5A063C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5:03.222" v="29970"/>
          <ac:graphicFrameMkLst>
            <pc:docMk/>
            <pc:sldMk cId="49807298" sldId="256"/>
            <ac:graphicFrameMk id="265" creationId="{E3F207FC-5E84-4201-BB30-BCC44454060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5:05.148" v="30072"/>
          <ac:graphicFrameMkLst>
            <pc:docMk/>
            <pc:sldMk cId="49807298" sldId="256"/>
            <ac:graphicFrameMk id="266" creationId="{8014FD4E-4823-4757-8FCB-D3B187B28F2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5:12.435" v="30172"/>
          <ac:graphicFrameMkLst>
            <pc:docMk/>
            <pc:sldMk cId="49807298" sldId="256"/>
            <ac:graphicFrameMk id="267" creationId="{2F4751A4-490F-4C60-9FBA-C78D5003A12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5:15.369" v="30274"/>
          <ac:graphicFrameMkLst>
            <pc:docMk/>
            <pc:sldMk cId="49807298" sldId="256"/>
            <ac:graphicFrameMk id="268" creationId="{969720A0-CF47-42F0-8FEE-9A0FB3FAAAB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5:21.693" v="30374"/>
          <ac:graphicFrameMkLst>
            <pc:docMk/>
            <pc:sldMk cId="49807298" sldId="256"/>
            <ac:graphicFrameMk id="269" creationId="{B5843DBC-E51C-482E-AE92-601DDDC5AD2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5:27.758" v="30476"/>
          <ac:graphicFrameMkLst>
            <pc:docMk/>
            <pc:sldMk cId="49807298" sldId="256"/>
            <ac:graphicFrameMk id="270" creationId="{ECE2B48F-ADDA-4138-B9C9-49315E9EB33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58:36.226" v="30744"/>
          <ac:graphicFrameMkLst>
            <pc:docMk/>
            <pc:sldMk cId="49807298" sldId="256"/>
            <ac:graphicFrameMk id="271" creationId="{377D6442-2185-46C8-A06D-D35398E74BB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58:39.724" v="30830"/>
          <ac:graphicFrameMkLst>
            <pc:docMk/>
            <pc:sldMk cId="49807298" sldId="256"/>
            <ac:graphicFrameMk id="272" creationId="{E336E237-2FC9-4AFD-80A2-7BFDA4013DD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3:27:41.119" v="32303"/>
          <ac:graphicFrameMkLst>
            <pc:docMk/>
            <pc:sldMk cId="49807298" sldId="256"/>
            <ac:graphicFrameMk id="273" creationId="{D71DA790-DA20-4CBA-95A2-994E56BFB9D4}"/>
          </ac:graphicFrameMkLst>
        </pc:graphicFrameChg>
        <pc:cxnChg chg="mod ord">
          <ac:chgData name="Ugo MANTEL" userId="2d5b7065-31bb-4181-a7f8-a73bf0c30211" providerId="ADAL" clId="{287A013E-B4BE-485E-AE94-C2936752CD18}" dt="2020-10-12T10:03:49.934" v="114286"/>
          <ac:cxnSpMkLst>
            <pc:docMk/>
            <pc:sldMk cId="49807298" sldId="256"/>
            <ac:cxnSpMk id="4" creationId="{AE69C7FE-B306-4E03-8A12-629329FE6434}"/>
          </ac:cxnSpMkLst>
        </pc:cxnChg>
        <pc:cxnChg chg="mod ord">
          <ac:chgData name="Ugo MANTEL" userId="2d5b7065-31bb-4181-a7f8-a73bf0c30211" providerId="ADAL" clId="{287A013E-B4BE-485E-AE94-C2936752CD18}" dt="2020-10-12T10:03:49.931" v="114282"/>
          <ac:cxnSpMkLst>
            <pc:docMk/>
            <pc:sldMk cId="49807298" sldId="256"/>
            <ac:cxnSpMk id="5" creationId="{31267229-A759-41B5-B57C-85276F403621}"/>
          </ac:cxnSpMkLst>
        </pc:cxnChg>
        <pc:cxnChg chg="mod ord">
          <ac:chgData name="Ugo MANTEL" userId="2d5b7065-31bb-4181-a7f8-a73bf0c30211" providerId="ADAL" clId="{287A013E-B4BE-485E-AE94-C2936752CD18}" dt="2020-10-12T10:03:49.936" v="114290"/>
          <ac:cxnSpMkLst>
            <pc:docMk/>
            <pc:sldMk cId="49807298" sldId="256"/>
            <ac:cxnSpMk id="6" creationId="{8053F143-8075-4B34-B8B8-C33571F2C88A}"/>
          </ac:cxnSpMkLst>
        </pc:cxnChg>
        <pc:cxnChg chg="add del mod ord">
          <ac:chgData name="Ugo MANTEL" userId="2d5b7065-31bb-4181-a7f8-a73bf0c30211" providerId="ADAL" clId="{287A013E-B4BE-485E-AE94-C2936752CD18}" dt="2020-10-12T10:03:49.930" v="114280"/>
          <ac:cxnSpMkLst>
            <pc:docMk/>
            <pc:sldMk cId="49807298" sldId="256"/>
            <ac:cxnSpMk id="7" creationId="{8CC86932-1395-4059-86B8-87E19AB49B34}"/>
          </ac:cxnSpMkLst>
        </pc:cxnChg>
        <pc:cxnChg chg="mod ord">
          <ac:chgData name="Ugo MANTEL" userId="2d5b7065-31bb-4181-a7f8-a73bf0c30211" providerId="ADAL" clId="{287A013E-B4BE-485E-AE94-C2936752CD18}" dt="2020-10-12T10:03:49.929" v="114278"/>
          <ac:cxnSpMkLst>
            <pc:docMk/>
            <pc:sldMk cId="49807298" sldId="256"/>
            <ac:cxnSpMk id="8" creationId="{62064129-2E28-40C1-A365-3EAF8D692731}"/>
          </ac:cxnSpMkLst>
        </pc:cxnChg>
        <pc:cxnChg chg="mod ord">
          <ac:chgData name="Ugo MANTEL" userId="2d5b7065-31bb-4181-a7f8-a73bf0c30211" providerId="ADAL" clId="{287A013E-B4BE-485E-AE94-C2936752CD18}" dt="2020-10-12T10:03:49.932" v="114284"/>
          <ac:cxnSpMkLst>
            <pc:docMk/>
            <pc:sldMk cId="49807298" sldId="256"/>
            <ac:cxnSpMk id="9" creationId="{41BC0B30-ED35-4001-A1D6-139AF8FB2FD8}"/>
          </ac:cxnSpMkLst>
        </pc:cxnChg>
        <pc:cxnChg chg="mod ord">
          <ac:chgData name="Ugo MANTEL" userId="2d5b7065-31bb-4181-a7f8-a73bf0c30211" providerId="ADAL" clId="{287A013E-B4BE-485E-AE94-C2936752CD18}" dt="2020-10-12T10:03:49.928" v="114274"/>
          <ac:cxnSpMkLst>
            <pc:docMk/>
            <pc:sldMk cId="49807298" sldId="256"/>
            <ac:cxnSpMk id="10" creationId="{921D8B75-C883-4944-B136-358BD997DDA3}"/>
          </ac:cxnSpMkLst>
        </pc:cxnChg>
        <pc:cxnChg chg="mod ord">
          <ac:chgData name="Ugo MANTEL" userId="2d5b7065-31bb-4181-a7f8-a73bf0c30211" providerId="ADAL" clId="{287A013E-B4BE-485E-AE94-C2936752CD18}" dt="2020-10-12T10:03:49.935" v="114288"/>
          <ac:cxnSpMkLst>
            <pc:docMk/>
            <pc:sldMk cId="49807298" sldId="256"/>
            <ac:cxnSpMk id="11" creationId="{985DF3CB-9384-404E-AB5A-ABDC96776C30}"/>
          </ac:cxnSpMkLst>
        </pc:cxnChg>
        <pc:cxnChg chg="mod ord">
          <ac:chgData name="Ugo MANTEL" userId="2d5b7065-31bb-4181-a7f8-a73bf0c30211" providerId="ADAL" clId="{287A013E-B4BE-485E-AE94-C2936752CD18}" dt="2020-10-12T10:03:49.941" v="114296"/>
          <ac:cxnSpMkLst>
            <pc:docMk/>
            <pc:sldMk cId="49807298" sldId="256"/>
            <ac:cxnSpMk id="12" creationId="{660FA607-6CB1-4897-98EF-EBA7EAD6C283}"/>
          </ac:cxnSpMkLst>
        </pc:cxnChg>
        <pc:cxnChg chg="mod ord">
          <ac:chgData name="Ugo MANTEL" userId="2d5b7065-31bb-4181-a7f8-a73bf0c30211" providerId="ADAL" clId="{287A013E-B4BE-485E-AE94-C2936752CD18}" dt="2020-10-12T10:03:49.938" v="114292"/>
          <ac:cxnSpMkLst>
            <pc:docMk/>
            <pc:sldMk cId="49807298" sldId="256"/>
            <ac:cxnSpMk id="13" creationId="{7E64383D-B260-4ED8-A534-94181DD7FFF2}"/>
          </ac:cxnSpMkLst>
        </pc:cxnChg>
        <pc:cxnChg chg="mod ord">
          <ac:chgData name="Ugo MANTEL" userId="2d5b7065-31bb-4181-a7f8-a73bf0c30211" providerId="ADAL" clId="{287A013E-B4BE-485E-AE94-C2936752CD18}" dt="2020-10-12T10:03:49.929" v="114276"/>
          <ac:cxnSpMkLst>
            <pc:docMk/>
            <pc:sldMk cId="49807298" sldId="256"/>
            <ac:cxnSpMk id="14" creationId="{DB88B253-97A1-48F6-AD5F-D88ADB388518}"/>
          </ac:cxnSpMkLst>
        </pc:cxnChg>
        <pc:cxnChg chg="mod ord">
          <ac:chgData name="Ugo MANTEL" userId="2d5b7065-31bb-4181-a7f8-a73bf0c30211" providerId="ADAL" clId="{287A013E-B4BE-485E-AE94-C2936752CD18}" dt="2020-10-12T10:03:49.939" v="114294"/>
          <ac:cxnSpMkLst>
            <pc:docMk/>
            <pc:sldMk cId="49807298" sldId="256"/>
            <ac:cxnSpMk id="15" creationId="{C458EA12-4C08-42D5-85F6-D0BBEC493261}"/>
          </ac:cxnSpMkLst>
        </pc:cxnChg>
        <pc:cxnChg chg="add del mod ord">
          <ac:chgData name="Ugo MANTEL" userId="2d5b7065-31bb-4181-a7f8-a73bf0c30211" providerId="ADAL" clId="{287A013E-B4BE-485E-AE94-C2936752CD18}" dt="2020-09-22T17:09:38.861" v="71707"/>
          <ac:cxnSpMkLst>
            <pc:docMk/>
            <pc:sldMk cId="49807298" sldId="256"/>
            <ac:cxnSpMk id="16" creationId="{63BDB3F2-1BF3-4973-A537-42748B547276}"/>
          </ac:cxnSpMkLst>
        </pc:cxnChg>
        <pc:cxnChg chg="add del mod ord">
          <ac:chgData name="Ugo MANTEL" userId="2d5b7065-31bb-4181-a7f8-a73bf0c30211" providerId="ADAL" clId="{287A013E-B4BE-485E-AE94-C2936752CD18}" dt="2020-09-22T17:09:38.859" v="71705"/>
          <ac:cxnSpMkLst>
            <pc:docMk/>
            <pc:sldMk cId="49807298" sldId="256"/>
            <ac:cxnSpMk id="17" creationId="{4A1CD782-34D3-4247-9E18-002F56ABA76D}"/>
          </ac:cxnSpMkLst>
        </pc:cxnChg>
        <pc:cxnChg chg="add del mod ord">
          <ac:chgData name="Ugo MANTEL" userId="2d5b7065-31bb-4181-a7f8-a73bf0c30211" providerId="ADAL" clId="{287A013E-B4BE-485E-AE94-C2936752CD18}" dt="2020-09-22T17:09:38.875" v="71725"/>
          <ac:cxnSpMkLst>
            <pc:docMk/>
            <pc:sldMk cId="49807298" sldId="256"/>
            <ac:cxnSpMk id="18" creationId="{20A9F042-B4C5-4EE9-9182-7BE8EE5B2A20}"/>
          </ac:cxnSpMkLst>
        </pc:cxnChg>
        <pc:cxnChg chg="add del mod ord">
          <ac:chgData name="Ugo MANTEL" userId="2d5b7065-31bb-4181-a7f8-a73bf0c30211" providerId="ADAL" clId="{287A013E-B4BE-485E-AE94-C2936752CD18}" dt="2020-09-22T17:09:38.865" v="71712"/>
          <ac:cxnSpMkLst>
            <pc:docMk/>
            <pc:sldMk cId="49807298" sldId="256"/>
            <ac:cxnSpMk id="19" creationId="{7FF92AA7-1EAA-48C8-B9A7-BA81B423F379}"/>
          </ac:cxnSpMkLst>
        </pc:cxnChg>
        <pc:cxnChg chg="add del mod ord">
          <ac:chgData name="Ugo MANTEL" userId="2d5b7065-31bb-4181-a7f8-a73bf0c30211" providerId="ADAL" clId="{287A013E-B4BE-485E-AE94-C2936752CD18}" dt="2020-09-22T17:09:38.864" v="71710"/>
          <ac:cxnSpMkLst>
            <pc:docMk/>
            <pc:sldMk cId="49807298" sldId="256"/>
            <ac:cxnSpMk id="20" creationId="{5C2EB3E8-5AD1-4D89-9D39-79A134A01F4B}"/>
          </ac:cxnSpMkLst>
        </pc:cxnChg>
        <pc:cxnChg chg="add del mod ord">
          <ac:chgData name="Ugo MANTEL" userId="2d5b7065-31bb-4181-a7f8-a73bf0c30211" providerId="ADAL" clId="{287A013E-B4BE-485E-AE94-C2936752CD18}" dt="2020-09-22T17:09:38.877" v="71728"/>
          <ac:cxnSpMkLst>
            <pc:docMk/>
            <pc:sldMk cId="49807298" sldId="256"/>
            <ac:cxnSpMk id="21" creationId="{CA2A707E-8848-4B14-92F2-C36B7898AC41}"/>
          </ac:cxnSpMkLst>
        </pc:cxnChg>
        <pc:cxnChg chg="add del mod ord">
          <ac:chgData name="Ugo MANTEL" userId="2d5b7065-31bb-4181-a7f8-a73bf0c30211" providerId="ADAL" clId="{287A013E-B4BE-485E-AE94-C2936752CD18}" dt="2020-09-22T17:09:38.868" v="71717"/>
          <ac:cxnSpMkLst>
            <pc:docMk/>
            <pc:sldMk cId="49807298" sldId="256"/>
            <ac:cxnSpMk id="22" creationId="{A53C43E8-754F-4369-8073-CB3ED83F302F}"/>
          </ac:cxnSpMkLst>
        </pc:cxnChg>
        <pc:cxnChg chg="add del mod ord">
          <ac:chgData name="Ugo MANTEL" userId="2d5b7065-31bb-4181-a7f8-a73bf0c30211" providerId="ADAL" clId="{287A013E-B4BE-485E-AE94-C2936752CD18}" dt="2020-09-22T17:09:38.867" v="71715"/>
          <ac:cxnSpMkLst>
            <pc:docMk/>
            <pc:sldMk cId="49807298" sldId="256"/>
            <ac:cxnSpMk id="23" creationId="{6F6A8D83-62F1-42E8-8927-B76558BDFBA1}"/>
          </ac:cxnSpMkLst>
        </pc:cxnChg>
        <pc:cxnChg chg="add del mod ord">
          <ac:chgData name="Ugo MANTEL" userId="2d5b7065-31bb-4181-a7f8-a73bf0c30211" providerId="ADAL" clId="{287A013E-B4BE-485E-AE94-C2936752CD18}" dt="2020-09-22T17:09:38.879" v="71731"/>
          <ac:cxnSpMkLst>
            <pc:docMk/>
            <pc:sldMk cId="49807298" sldId="256"/>
            <ac:cxnSpMk id="24" creationId="{F54FFB66-A5AB-4B1E-9533-A77E5CDF1F5E}"/>
          </ac:cxnSpMkLst>
        </pc:cxnChg>
        <pc:cxnChg chg="add del mod ord">
          <ac:chgData name="Ugo MANTEL" userId="2d5b7065-31bb-4181-a7f8-a73bf0c30211" providerId="ADAL" clId="{287A013E-B4BE-485E-AE94-C2936752CD18}" dt="2020-09-22T17:09:38.871" v="71722"/>
          <ac:cxnSpMkLst>
            <pc:docMk/>
            <pc:sldMk cId="49807298" sldId="256"/>
            <ac:cxnSpMk id="25" creationId="{90B33BC6-AE2F-4065-A962-AFC9DAB4D98E}"/>
          </ac:cxnSpMkLst>
        </pc:cxnChg>
        <pc:cxnChg chg="add del mod ord">
          <ac:chgData name="Ugo MANTEL" userId="2d5b7065-31bb-4181-a7f8-a73bf0c30211" providerId="ADAL" clId="{287A013E-B4BE-485E-AE94-C2936752CD18}" dt="2020-09-22T17:09:38.870" v="71720"/>
          <ac:cxnSpMkLst>
            <pc:docMk/>
            <pc:sldMk cId="49807298" sldId="256"/>
            <ac:cxnSpMk id="26" creationId="{236C922F-D894-4C3E-A981-B0500C4F4908}"/>
          </ac:cxnSpMkLst>
        </pc:cxnChg>
        <pc:cxnChg chg="del mod ord">
          <ac:chgData name="Ugo MANTEL" userId="2d5b7065-31bb-4181-a7f8-a73bf0c30211" providerId="ADAL" clId="{287A013E-B4BE-485E-AE94-C2936752CD18}" dt="2020-09-14T11:35:58.102" v="12526"/>
          <ac:cxnSpMkLst>
            <pc:docMk/>
            <pc:sldMk cId="49807298" sldId="256"/>
            <ac:cxnSpMk id="26" creationId="{E501FC27-C22F-48BB-BD59-F5D6E964C160}"/>
          </ac:cxnSpMkLst>
        </pc:cxnChg>
        <pc:cxnChg chg="mod ord">
          <ac:chgData name="Ugo MANTEL" userId="2d5b7065-31bb-4181-a7f8-a73bf0c30211" providerId="ADAL" clId="{287A013E-B4BE-485E-AE94-C2936752CD18}" dt="2020-10-12T10:03:49.946" v="114308"/>
          <ac:cxnSpMkLst>
            <pc:docMk/>
            <pc:sldMk cId="49807298" sldId="256"/>
            <ac:cxnSpMk id="27" creationId="{AFF0B8F1-CA42-46B3-A1F6-72079A7B0D28}"/>
          </ac:cxnSpMkLst>
        </pc:cxnChg>
        <pc:cxnChg chg="mod ord">
          <ac:chgData name="Ugo MANTEL" userId="2d5b7065-31bb-4181-a7f8-a73bf0c30211" providerId="ADAL" clId="{287A013E-B4BE-485E-AE94-C2936752CD18}" dt="2020-10-12T10:03:49.947" v="114310"/>
          <ac:cxnSpMkLst>
            <pc:docMk/>
            <pc:sldMk cId="49807298" sldId="256"/>
            <ac:cxnSpMk id="28" creationId="{D4A70354-3411-4330-B0CB-7162769D8411}"/>
          </ac:cxnSpMkLst>
        </pc:cxnChg>
        <pc:cxnChg chg="add del mod ord">
          <ac:chgData name="Ugo MANTEL" userId="2d5b7065-31bb-4181-a7f8-a73bf0c30211" providerId="ADAL" clId="{287A013E-B4BE-485E-AE94-C2936752CD18}" dt="2020-09-22T17:09:38.880" v="71734"/>
          <ac:cxnSpMkLst>
            <pc:docMk/>
            <pc:sldMk cId="49807298" sldId="256"/>
            <ac:cxnSpMk id="43" creationId="{AB531BA1-702E-43AF-9F9B-28109E7C2BD9}"/>
          </ac:cxnSpMkLst>
        </pc:cxnChg>
        <pc:cxnChg chg="add mod ord">
          <ac:chgData name="Ugo MANTEL" userId="2d5b7065-31bb-4181-a7f8-a73bf0c30211" providerId="ADAL" clId="{287A013E-B4BE-485E-AE94-C2936752CD18}" dt="2020-10-12T10:03:49.946" v="114306"/>
          <ac:cxnSpMkLst>
            <pc:docMk/>
            <pc:sldMk cId="49807298" sldId="256"/>
            <ac:cxnSpMk id="48" creationId="{7AEE2A3D-8E34-47ED-A744-162D7F6FF665}"/>
          </ac:cxnSpMkLst>
        </pc:cxnChg>
        <pc:cxnChg chg="add mod ord">
          <ac:chgData name="Ugo MANTEL" userId="2d5b7065-31bb-4181-a7f8-a73bf0c30211" providerId="ADAL" clId="{287A013E-B4BE-485E-AE94-C2936752CD18}" dt="2020-10-12T10:03:49.943" v="114300"/>
          <ac:cxnSpMkLst>
            <pc:docMk/>
            <pc:sldMk cId="49807298" sldId="256"/>
            <ac:cxnSpMk id="49" creationId="{62D9085D-E074-4287-9CB1-C0A337A374E8}"/>
          </ac:cxnSpMkLst>
        </pc:cxnChg>
        <pc:cxnChg chg="add mod ord">
          <ac:chgData name="Ugo MANTEL" userId="2d5b7065-31bb-4181-a7f8-a73bf0c30211" providerId="ADAL" clId="{287A013E-B4BE-485E-AE94-C2936752CD18}" dt="2020-10-12T10:03:49.947" v="114312"/>
          <ac:cxnSpMkLst>
            <pc:docMk/>
            <pc:sldMk cId="49807298" sldId="256"/>
            <ac:cxnSpMk id="50" creationId="{96AD1A1B-4041-4EFF-AF08-BEAC86A7C476}"/>
          </ac:cxnSpMkLst>
        </pc:cxnChg>
        <pc:cxnChg chg="add mod ord">
          <ac:chgData name="Ugo MANTEL" userId="2d5b7065-31bb-4181-a7f8-a73bf0c30211" providerId="ADAL" clId="{287A013E-B4BE-485E-AE94-C2936752CD18}" dt="2020-10-12T10:03:49.950" v="114314"/>
          <ac:cxnSpMkLst>
            <pc:docMk/>
            <pc:sldMk cId="49807298" sldId="256"/>
            <ac:cxnSpMk id="55" creationId="{DC392ED1-FF98-4357-80E3-B092B35EC892}"/>
          </ac:cxnSpMkLst>
        </pc:cxnChg>
        <pc:cxnChg chg="add del mod ord">
          <ac:chgData name="Ugo MANTEL" userId="2d5b7065-31bb-4181-a7f8-a73bf0c30211" providerId="ADAL" clId="{287A013E-B4BE-485E-AE94-C2936752CD18}" dt="2020-09-14T11:16:25.893" v="1722"/>
          <ac:cxnSpMkLst>
            <pc:docMk/>
            <pc:sldMk cId="49807298" sldId="256"/>
            <ac:cxnSpMk id="59" creationId="{ACB90731-731B-4C36-8B1D-A809E36EC864}"/>
          </ac:cxnSpMkLst>
        </pc:cxnChg>
        <pc:cxnChg chg="add del mod ord">
          <ac:chgData name="Ugo MANTEL" userId="2d5b7065-31bb-4181-a7f8-a73bf0c30211" providerId="ADAL" clId="{287A013E-B4BE-485E-AE94-C2936752CD18}" dt="2020-09-14T11:16:25.893" v="1722"/>
          <ac:cxnSpMkLst>
            <pc:docMk/>
            <pc:sldMk cId="49807298" sldId="256"/>
            <ac:cxnSpMk id="60" creationId="{4762E238-873A-4A6C-A66C-40E50450DB02}"/>
          </ac:cxnSpMkLst>
        </pc:cxnChg>
        <pc:cxnChg chg="add mod ord">
          <ac:chgData name="Ugo MANTEL" userId="2d5b7065-31bb-4181-a7f8-a73bf0c30211" providerId="ADAL" clId="{287A013E-B4BE-485E-AE94-C2936752CD18}" dt="2020-10-12T10:03:49.951" v="114316"/>
          <ac:cxnSpMkLst>
            <pc:docMk/>
            <pc:sldMk cId="49807298" sldId="256"/>
            <ac:cxnSpMk id="65" creationId="{25DAF424-2142-44D7-929C-3F9158F27E56}"/>
          </ac:cxnSpMkLst>
        </pc:cxnChg>
        <pc:cxnChg chg="add mod ord">
          <ac:chgData name="Ugo MANTEL" userId="2d5b7065-31bb-4181-a7f8-a73bf0c30211" providerId="ADAL" clId="{287A013E-B4BE-485E-AE94-C2936752CD18}" dt="2020-10-12T10:03:49.944" v="114302"/>
          <ac:cxnSpMkLst>
            <pc:docMk/>
            <pc:sldMk cId="49807298" sldId="256"/>
            <ac:cxnSpMk id="68" creationId="{EC9B605C-27F3-4ECE-9C8E-8D5F8CB12AAB}"/>
          </ac:cxnSpMkLst>
        </pc:cxnChg>
        <pc:cxnChg chg="add del mod ord">
          <ac:chgData name="Ugo MANTEL" userId="2d5b7065-31bb-4181-a7f8-a73bf0c30211" providerId="ADAL" clId="{287A013E-B4BE-485E-AE94-C2936752CD18}" dt="2020-09-14T11:22:26.577" v="9310"/>
          <ac:cxnSpMkLst>
            <pc:docMk/>
            <pc:sldMk cId="49807298" sldId="256"/>
            <ac:cxnSpMk id="82" creationId="{DB6F1616-483F-4465-9A77-3C116FBA0AE4}"/>
          </ac:cxnSpMkLst>
        </pc:cxnChg>
        <pc:cxnChg chg="add del mod ord">
          <ac:chgData name="Ugo MANTEL" userId="2d5b7065-31bb-4181-a7f8-a73bf0c30211" providerId="ADAL" clId="{287A013E-B4BE-485E-AE94-C2936752CD18}" dt="2020-09-14T11:22:39.557" v="9873"/>
          <ac:cxnSpMkLst>
            <pc:docMk/>
            <pc:sldMk cId="49807298" sldId="256"/>
            <ac:cxnSpMk id="83" creationId="{BB241B36-B2B8-4784-828B-4290D2067390}"/>
          </ac:cxnSpMkLst>
        </pc:cxnChg>
        <pc:cxnChg chg="add del mod ord">
          <ac:chgData name="Ugo MANTEL" userId="2d5b7065-31bb-4181-a7f8-a73bf0c30211" providerId="ADAL" clId="{287A013E-B4BE-485E-AE94-C2936752CD18}" dt="2020-10-12T10:03:49.945" v="114304"/>
          <ac:cxnSpMkLst>
            <pc:docMk/>
            <pc:sldMk cId="49807298" sldId="256"/>
            <ac:cxnSpMk id="186" creationId="{D50359F6-228C-411C-A49B-4FA415B15229}"/>
          </ac:cxnSpMkLst>
        </pc:cxnChg>
        <pc:cxnChg chg="add del mod ord">
          <ac:chgData name="Ugo MANTEL" userId="2d5b7065-31bb-4181-a7f8-a73bf0c30211" providerId="ADAL" clId="{287A013E-B4BE-485E-AE94-C2936752CD18}" dt="2020-09-14T11:37:42.503" v="14214"/>
          <ac:cxnSpMkLst>
            <pc:docMk/>
            <pc:sldMk cId="49807298" sldId="256"/>
            <ac:cxnSpMk id="191" creationId="{1C6B0928-F72A-4A4E-BBA1-F7797E493B42}"/>
          </ac:cxnSpMkLst>
        </pc:cxnChg>
        <pc:cxnChg chg="add del mod ord">
          <ac:chgData name="Ugo MANTEL" userId="2d5b7065-31bb-4181-a7f8-a73bf0c30211" providerId="ADAL" clId="{287A013E-B4BE-485E-AE94-C2936752CD18}" dt="2020-09-14T11:37:42.503" v="14214"/>
          <ac:cxnSpMkLst>
            <pc:docMk/>
            <pc:sldMk cId="49807298" sldId="256"/>
            <ac:cxnSpMk id="192" creationId="{2013E57D-507C-4A38-8F0E-664BE516BE3B}"/>
          </ac:cxnSpMkLst>
        </pc:cxnChg>
        <pc:cxnChg chg="add del mod ord">
          <ac:chgData name="Ugo MANTEL" userId="2d5b7065-31bb-4181-a7f8-a73bf0c30211" providerId="ADAL" clId="{287A013E-B4BE-485E-AE94-C2936752CD18}" dt="2020-09-14T11:37:42.503" v="14214"/>
          <ac:cxnSpMkLst>
            <pc:docMk/>
            <pc:sldMk cId="49807298" sldId="256"/>
            <ac:cxnSpMk id="193" creationId="{11B0C37C-3A35-4BED-8784-CE71DF1A8507}"/>
          </ac:cxnSpMkLst>
        </pc:cxnChg>
        <pc:cxnChg chg="add del mod ord">
          <ac:chgData name="Ugo MANTEL" userId="2d5b7065-31bb-4181-a7f8-a73bf0c30211" providerId="ADAL" clId="{287A013E-B4BE-485E-AE94-C2936752CD18}" dt="2020-09-14T11:37:42.503" v="14214"/>
          <ac:cxnSpMkLst>
            <pc:docMk/>
            <pc:sldMk cId="49807298" sldId="256"/>
            <ac:cxnSpMk id="194" creationId="{9AC4035A-8DD3-4E24-AA49-60DFDDC02530}"/>
          </ac:cxnSpMkLst>
        </pc:cxnChg>
        <pc:cxnChg chg="add del mod ord">
          <ac:chgData name="Ugo MANTEL" userId="2d5b7065-31bb-4181-a7f8-a73bf0c30211" providerId="ADAL" clId="{287A013E-B4BE-485E-AE94-C2936752CD18}" dt="2020-09-14T11:37:42.503" v="14214"/>
          <ac:cxnSpMkLst>
            <pc:docMk/>
            <pc:sldMk cId="49807298" sldId="256"/>
            <ac:cxnSpMk id="195" creationId="{81467C3C-0672-4958-821B-1546EB9AC587}"/>
          </ac:cxnSpMkLst>
        </pc:cxnChg>
        <pc:cxnChg chg="add del mod ord">
          <ac:chgData name="Ugo MANTEL" userId="2d5b7065-31bb-4181-a7f8-a73bf0c30211" providerId="ADAL" clId="{287A013E-B4BE-485E-AE94-C2936752CD18}" dt="2020-09-14T11:37:42.503" v="14214"/>
          <ac:cxnSpMkLst>
            <pc:docMk/>
            <pc:sldMk cId="49807298" sldId="256"/>
            <ac:cxnSpMk id="196" creationId="{F44E68EB-802B-4E78-B004-FD6F2C0B83B7}"/>
          </ac:cxnSpMkLst>
        </pc:cxnChg>
        <pc:cxnChg chg="add del mod ord">
          <ac:chgData name="Ugo MANTEL" userId="2d5b7065-31bb-4181-a7f8-a73bf0c30211" providerId="ADAL" clId="{287A013E-B4BE-485E-AE94-C2936752CD18}" dt="2020-09-14T11:37:42.503" v="14214"/>
          <ac:cxnSpMkLst>
            <pc:docMk/>
            <pc:sldMk cId="49807298" sldId="256"/>
            <ac:cxnSpMk id="197" creationId="{6161EDB3-1F7A-41E7-80D6-4C67756DCA2C}"/>
          </ac:cxnSpMkLst>
        </pc:cxnChg>
        <pc:cxnChg chg="add del mod ord">
          <ac:chgData name="Ugo MANTEL" userId="2d5b7065-31bb-4181-a7f8-a73bf0c30211" providerId="ADAL" clId="{287A013E-B4BE-485E-AE94-C2936752CD18}" dt="2020-09-14T11:43:38.474" v="28107"/>
          <ac:cxnSpMkLst>
            <pc:docMk/>
            <pc:sldMk cId="49807298" sldId="256"/>
            <ac:cxnSpMk id="207" creationId="{A3C00109-BB9A-4156-AEDF-17F4709D385F}"/>
          </ac:cxnSpMkLst>
        </pc:cxnChg>
        <pc:cxnChg chg="add del mod ord">
          <ac:chgData name="Ugo MANTEL" userId="2d5b7065-31bb-4181-a7f8-a73bf0c30211" providerId="ADAL" clId="{287A013E-B4BE-485E-AE94-C2936752CD18}" dt="2020-09-14T11:43:38.473" v="28105"/>
          <ac:cxnSpMkLst>
            <pc:docMk/>
            <pc:sldMk cId="49807298" sldId="256"/>
            <ac:cxnSpMk id="208" creationId="{17AF345C-68A9-408E-AFF4-2F3EBF715EEC}"/>
          </ac:cxnSpMkLst>
        </pc:cxnChg>
        <pc:cxnChg chg="add del mod ord">
          <ac:chgData name="Ugo MANTEL" userId="2d5b7065-31bb-4181-a7f8-a73bf0c30211" providerId="ADAL" clId="{287A013E-B4BE-485E-AE94-C2936752CD18}" dt="2020-09-14T11:43:38.546" v="28183"/>
          <ac:cxnSpMkLst>
            <pc:docMk/>
            <pc:sldMk cId="49807298" sldId="256"/>
            <ac:cxnSpMk id="209" creationId="{F1AF72CE-BEE9-4252-908A-91D4460196EA}"/>
          </ac:cxnSpMkLst>
        </pc:cxnChg>
        <pc:cxnChg chg="add del mod ord">
          <ac:chgData name="Ugo MANTEL" userId="2d5b7065-31bb-4181-a7f8-a73bf0c30211" providerId="ADAL" clId="{287A013E-B4BE-485E-AE94-C2936752CD18}" dt="2020-09-14T11:43:38.477" v="28112"/>
          <ac:cxnSpMkLst>
            <pc:docMk/>
            <pc:sldMk cId="49807298" sldId="256"/>
            <ac:cxnSpMk id="210" creationId="{211BC5F8-0E45-436B-BCDE-529B87920191}"/>
          </ac:cxnSpMkLst>
        </pc:cxnChg>
        <pc:cxnChg chg="add del mod ord">
          <ac:chgData name="Ugo MANTEL" userId="2d5b7065-31bb-4181-a7f8-a73bf0c30211" providerId="ADAL" clId="{287A013E-B4BE-485E-AE94-C2936752CD18}" dt="2020-09-14T11:43:38.475" v="28110"/>
          <ac:cxnSpMkLst>
            <pc:docMk/>
            <pc:sldMk cId="49807298" sldId="256"/>
            <ac:cxnSpMk id="211" creationId="{48B8DCE4-CC24-4E29-811D-E55F587A4F66}"/>
          </ac:cxnSpMkLst>
        </pc:cxnChg>
        <pc:cxnChg chg="add del mod ord">
          <ac:chgData name="Ugo MANTEL" userId="2d5b7065-31bb-4181-a7f8-a73bf0c30211" providerId="ADAL" clId="{287A013E-B4BE-485E-AE94-C2936752CD18}" dt="2020-09-14T11:43:38.478" v="28115"/>
          <ac:cxnSpMkLst>
            <pc:docMk/>
            <pc:sldMk cId="49807298" sldId="256"/>
            <ac:cxnSpMk id="212" creationId="{DCC53FA4-6E86-4B21-8019-02E8C9ADE81D}"/>
          </ac:cxnSpMkLst>
        </pc:cxnChg>
        <pc:cxnChg chg="add del mod ord">
          <ac:chgData name="Ugo MANTEL" userId="2d5b7065-31bb-4181-a7f8-a73bf0c30211" providerId="ADAL" clId="{287A013E-B4BE-485E-AE94-C2936752CD18}" dt="2020-09-14T11:43:38.480" v="28120"/>
          <ac:cxnSpMkLst>
            <pc:docMk/>
            <pc:sldMk cId="49807298" sldId="256"/>
            <ac:cxnSpMk id="213" creationId="{68B1E2DB-69A8-4365-A753-DC4E737A1599}"/>
          </ac:cxnSpMkLst>
        </pc:cxnChg>
        <pc:cxnChg chg="add del mod ord">
          <ac:chgData name="Ugo MANTEL" userId="2d5b7065-31bb-4181-a7f8-a73bf0c30211" providerId="ADAL" clId="{287A013E-B4BE-485E-AE94-C2936752CD18}" dt="2020-09-14T11:43:38.479" v="28118"/>
          <ac:cxnSpMkLst>
            <pc:docMk/>
            <pc:sldMk cId="49807298" sldId="256"/>
            <ac:cxnSpMk id="214" creationId="{0DA8FAFC-039F-44DD-94CC-22F6329B6CC0}"/>
          </ac:cxnSpMkLst>
        </pc:cxnChg>
        <pc:cxnChg chg="add del mod ord">
          <ac:chgData name="Ugo MANTEL" userId="2d5b7065-31bb-4181-a7f8-a73bf0c30211" providerId="ADAL" clId="{287A013E-B4BE-485E-AE94-C2936752CD18}" dt="2020-09-14T11:43:25.629" v="27595"/>
          <ac:cxnSpMkLst>
            <pc:docMk/>
            <pc:sldMk cId="49807298" sldId="256"/>
            <ac:cxnSpMk id="224" creationId="{CD7627AC-C6D7-43E7-992B-23BD7384C051}"/>
          </ac:cxnSpMkLst>
        </pc:cxnChg>
        <pc:cxnChg chg="add del mod ord">
          <ac:chgData name="Ugo MANTEL" userId="2d5b7065-31bb-4181-a7f8-a73bf0c30211" providerId="ADAL" clId="{287A013E-B4BE-485E-AE94-C2936752CD18}" dt="2020-09-14T11:43:25.629" v="27595"/>
          <ac:cxnSpMkLst>
            <pc:docMk/>
            <pc:sldMk cId="49807298" sldId="256"/>
            <ac:cxnSpMk id="225" creationId="{C50BA34A-0B40-48DF-8524-1548FB3DB7C6}"/>
          </ac:cxnSpMkLst>
        </pc:cxnChg>
        <pc:cxnChg chg="add del mod ord">
          <ac:chgData name="Ugo MANTEL" userId="2d5b7065-31bb-4181-a7f8-a73bf0c30211" providerId="ADAL" clId="{287A013E-B4BE-485E-AE94-C2936752CD18}" dt="2020-09-14T11:43:25.629" v="27595"/>
          <ac:cxnSpMkLst>
            <pc:docMk/>
            <pc:sldMk cId="49807298" sldId="256"/>
            <ac:cxnSpMk id="226" creationId="{C1D795F4-609E-4CE6-9667-546E23CF3AD3}"/>
          </ac:cxnSpMkLst>
        </pc:cxnChg>
        <pc:cxnChg chg="add del mod ord">
          <ac:chgData name="Ugo MANTEL" userId="2d5b7065-31bb-4181-a7f8-a73bf0c30211" providerId="ADAL" clId="{287A013E-B4BE-485E-AE94-C2936752CD18}" dt="2020-09-14T11:43:25.629" v="27595"/>
          <ac:cxnSpMkLst>
            <pc:docMk/>
            <pc:sldMk cId="49807298" sldId="256"/>
            <ac:cxnSpMk id="227" creationId="{B5D36012-7857-4122-835E-F02DB776BACA}"/>
          </ac:cxnSpMkLst>
        </pc:cxnChg>
        <pc:cxnChg chg="add del mod ord">
          <ac:chgData name="Ugo MANTEL" userId="2d5b7065-31bb-4181-a7f8-a73bf0c30211" providerId="ADAL" clId="{287A013E-B4BE-485E-AE94-C2936752CD18}" dt="2020-09-14T11:43:25.629" v="27595"/>
          <ac:cxnSpMkLst>
            <pc:docMk/>
            <pc:sldMk cId="49807298" sldId="256"/>
            <ac:cxnSpMk id="228" creationId="{4CBEECDB-178D-4667-9742-A836B6219A90}"/>
          </ac:cxnSpMkLst>
        </pc:cxnChg>
        <pc:cxnChg chg="add del mod ord">
          <ac:chgData name="Ugo MANTEL" userId="2d5b7065-31bb-4181-a7f8-a73bf0c30211" providerId="ADAL" clId="{287A013E-B4BE-485E-AE94-C2936752CD18}" dt="2020-09-14T11:43:24.638" v="27249"/>
          <ac:cxnSpMkLst>
            <pc:docMk/>
            <pc:sldMk cId="49807298" sldId="256"/>
            <ac:cxnSpMk id="238" creationId="{627544A0-039A-40BF-915D-0F25AD516075}"/>
          </ac:cxnSpMkLst>
        </pc:cxnChg>
        <pc:cxnChg chg="add del mod ord">
          <ac:chgData name="Ugo MANTEL" userId="2d5b7065-31bb-4181-a7f8-a73bf0c30211" providerId="ADAL" clId="{287A013E-B4BE-485E-AE94-C2936752CD18}" dt="2020-09-14T11:43:24.638" v="27249"/>
          <ac:cxnSpMkLst>
            <pc:docMk/>
            <pc:sldMk cId="49807298" sldId="256"/>
            <ac:cxnSpMk id="239" creationId="{C39D9306-2C63-4523-8CF7-8F337DEBECC0}"/>
          </ac:cxnSpMkLst>
        </pc:cxnChg>
        <pc:cxnChg chg="add del mod ord">
          <ac:chgData name="Ugo MANTEL" userId="2d5b7065-31bb-4181-a7f8-a73bf0c30211" providerId="ADAL" clId="{287A013E-B4BE-485E-AE94-C2936752CD18}" dt="2020-09-14T11:43:24.638" v="27249"/>
          <ac:cxnSpMkLst>
            <pc:docMk/>
            <pc:sldMk cId="49807298" sldId="256"/>
            <ac:cxnSpMk id="240" creationId="{574BD371-3097-4418-9D6B-04C533ABA8DF}"/>
          </ac:cxnSpMkLst>
        </pc:cxnChg>
        <pc:cxnChg chg="add del mod ord">
          <ac:chgData name="Ugo MANTEL" userId="2d5b7065-31bb-4181-a7f8-a73bf0c30211" providerId="ADAL" clId="{287A013E-B4BE-485E-AE94-C2936752CD18}" dt="2020-09-14T11:43:24.638" v="27249"/>
          <ac:cxnSpMkLst>
            <pc:docMk/>
            <pc:sldMk cId="49807298" sldId="256"/>
            <ac:cxnSpMk id="241" creationId="{86D9B143-CCB3-4474-88EE-6286612ACE3D}"/>
          </ac:cxnSpMkLst>
        </pc:cxnChg>
        <pc:cxnChg chg="add del mod ord">
          <ac:chgData name="Ugo MANTEL" userId="2d5b7065-31bb-4181-a7f8-a73bf0c30211" providerId="ADAL" clId="{287A013E-B4BE-485E-AE94-C2936752CD18}" dt="2020-09-14T11:43:24.638" v="27249"/>
          <ac:cxnSpMkLst>
            <pc:docMk/>
            <pc:sldMk cId="49807298" sldId="256"/>
            <ac:cxnSpMk id="242" creationId="{8DA93A9F-B2BA-40F5-8B0D-D90FC9873FFF}"/>
          </ac:cxnSpMkLst>
        </pc:cxnChg>
        <pc:cxnChg chg="add del mod ord">
          <ac:chgData name="Ugo MANTEL" userId="2d5b7065-31bb-4181-a7f8-a73bf0c30211" providerId="ADAL" clId="{287A013E-B4BE-485E-AE94-C2936752CD18}" dt="2020-09-14T11:43:21.376" v="26491"/>
          <ac:cxnSpMkLst>
            <pc:docMk/>
            <pc:sldMk cId="49807298" sldId="256"/>
            <ac:cxnSpMk id="252" creationId="{F095E4BE-5F2F-4298-B63E-7003632F92ED}"/>
          </ac:cxnSpMkLst>
        </pc:cxnChg>
        <pc:cxnChg chg="add del mod ord">
          <ac:chgData name="Ugo MANTEL" userId="2d5b7065-31bb-4181-a7f8-a73bf0c30211" providerId="ADAL" clId="{287A013E-B4BE-485E-AE94-C2936752CD18}" dt="2020-09-14T11:43:21.376" v="26491"/>
          <ac:cxnSpMkLst>
            <pc:docMk/>
            <pc:sldMk cId="49807298" sldId="256"/>
            <ac:cxnSpMk id="253" creationId="{86809445-6369-46C0-B324-A229F6850672}"/>
          </ac:cxnSpMkLst>
        </pc:cxnChg>
      </pc:sldChg>
      <pc:sldChg chg="addSp delSp modSp new add del mod">
        <pc:chgData name="Ugo MANTEL" userId="2d5b7065-31bb-4181-a7f8-a73bf0c30211" providerId="ADAL" clId="{287A013E-B4BE-485E-AE94-C2936752CD18}" dt="2020-09-14T11:43:20.890" v="26282" actId="680"/>
        <pc:sldMkLst>
          <pc:docMk/>
          <pc:sldMk cId="1969858442" sldId="257"/>
        </pc:sldMkLst>
        <pc:spChg chg="mod">
          <ac:chgData name="Ugo MANTEL" userId="2d5b7065-31bb-4181-a7f8-a73bf0c30211" providerId="ADAL" clId="{287A013E-B4BE-485E-AE94-C2936752CD18}" dt="2020-09-14T11:43:11.982" v="24717"/>
          <ac:spMkLst>
            <pc:docMk/>
            <pc:sldMk cId="1969858442" sldId="257"/>
            <ac:spMk id="2" creationId="{130E8247-A788-49F8-AA8B-B42832667C6B}"/>
          </ac:spMkLst>
        </pc:spChg>
        <pc:spChg chg="mod ord">
          <ac:chgData name="Ugo MANTEL" userId="2d5b7065-31bb-4181-a7f8-a73bf0c30211" providerId="ADAL" clId="{287A013E-B4BE-485E-AE94-C2936752CD18}" dt="2020-09-14T11:43:20.784" v="26281"/>
          <ac:spMkLst>
            <pc:docMk/>
            <pc:sldMk cId="1969858442" sldId="257"/>
            <ac:spMk id="3" creationId="{D17648D5-44D2-4394-A7A8-2CA744A5AE0D}"/>
          </ac:spMkLst>
        </pc:spChg>
        <pc:spChg chg="add mod">
          <ac:chgData name="Ugo MANTEL" userId="2d5b7065-31bb-4181-a7f8-a73bf0c30211" providerId="ADAL" clId="{287A013E-B4BE-485E-AE94-C2936752CD18}" dt="2020-09-14T11:41:52.795" v="22179"/>
          <ac:spMkLst>
            <pc:docMk/>
            <pc:sldMk cId="1969858442" sldId="257"/>
            <ac:spMk id="4" creationId="{D42C541E-89B5-4B58-A25F-B0561982F494}"/>
          </ac:spMkLst>
        </pc:spChg>
        <pc:spChg chg="add del mod ord modVis">
          <ac:chgData name="Ugo MANTEL" userId="2d5b7065-31bb-4181-a7f8-a73bf0c30211" providerId="ADAL" clId="{287A013E-B4BE-485E-AE94-C2936752CD18}" dt="2020-09-14T11:41:52.795" v="22179"/>
          <ac:spMkLst>
            <pc:docMk/>
            <pc:sldMk cId="1969858442" sldId="257"/>
            <ac:spMk id="5" creationId="{60C66E52-6500-4D6D-96BE-1A9281BEC2E1}"/>
          </ac:spMkLst>
        </pc:spChg>
        <pc:spChg chg="add mod">
          <ac:chgData name="Ugo MANTEL" userId="2d5b7065-31bb-4181-a7f8-a73bf0c30211" providerId="ADAL" clId="{287A013E-B4BE-485E-AE94-C2936752CD18}" dt="2020-09-14T11:41:52.795" v="22179"/>
          <ac:spMkLst>
            <pc:docMk/>
            <pc:sldMk cId="1969858442" sldId="257"/>
            <ac:spMk id="6" creationId="{B8F40802-2687-470C-95CB-E1E46244E906}"/>
          </ac:spMkLst>
        </pc:spChg>
        <pc:spChg chg="add mod">
          <ac:chgData name="Ugo MANTEL" userId="2d5b7065-31bb-4181-a7f8-a73bf0c30211" providerId="ADAL" clId="{287A013E-B4BE-485E-AE94-C2936752CD18}" dt="2020-09-14T11:41:52.795" v="22179"/>
          <ac:spMkLst>
            <pc:docMk/>
            <pc:sldMk cId="1969858442" sldId="257"/>
            <ac:spMk id="7" creationId="{38D755CD-44EE-4B9E-BAB7-30B2877F6AE9}"/>
          </ac:spMkLst>
        </pc:spChg>
        <pc:spChg chg="add mod">
          <ac:chgData name="Ugo MANTEL" userId="2d5b7065-31bb-4181-a7f8-a73bf0c30211" providerId="ADAL" clId="{287A013E-B4BE-485E-AE94-C2936752CD18}" dt="2020-09-14T11:41:51.286" v="21950"/>
          <ac:spMkLst>
            <pc:docMk/>
            <pc:sldMk cId="1969858442" sldId="257"/>
            <ac:spMk id="12" creationId="{5A8AA0B5-65F8-43CD-97D8-66944BA839D9}"/>
          </ac:spMkLst>
        </pc:spChg>
        <pc:spChg chg="add mod">
          <ac:chgData name="Ugo MANTEL" userId="2d5b7065-31bb-4181-a7f8-a73bf0c30211" providerId="ADAL" clId="{287A013E-B4BE-485E-AE94-C2936752CD18}" dt="2020-09-14T11:41:51.286" v="21950"/>
          <ac:spMkLst>
            <pc:docMk/>
            <pc:sldMk cId="1969858442" sldId="257"/>
            <ac:spMk id="13" creationId="{DE3B539C-A4E1-484A-B0B6-970D222D5F6B}"/>
          </ac:spMkLst>
        </pc:spChg>
        <pc:spChg chg="add mod">
          <ac:chgData name="Ugo MANTEL" userId="2d5b7065-31bb-4181-a7f8-a73bf0c30211" providerId="ADAL" clId="{287A013E-B4BE-485E-AE94-C2936752CD18}" dt="2020-09-14T11:41:51.286" v="21950"/>
          <ac:spMkLst>
            <pc:docMk/>
            <pc:sldMk cId="1969858442" sldId="257"/>
            <ac:spMk id="14" creationId="{47508CE7-4E15-4D5C-BA38-F4D824C97E3B}"/>
          </ac:spMkLst>
        </pc:spChg>
        <pc:spChg chg="add mod">
          <ac:chgData name="Ugo MANTEL" userId="2d5b7065-31bb-4181-a7f8-a73bf0c30211" providerId="ADAL" clId="{287A013E-B4BE-485E-AE94-C2936752CD18}" dt="2020-09-14T11:41:51.286" v="21950"/>
          <ac:spMkLst>
            <pc:docMk/>
            <pc:sldMk cId="1969858442" sldId="257"/>
            <ac:spMk id="15" creationId="{BF82BDAC-5322-408C-B8E5-3E99F6C415ED}"/>
          </ac:spMkLst>
        </pc:spChg>
        <pc:spChg chg="add mod">
          <ac:chgData name="Ugo MANTEL" userId="2d5b7065-31bb-4181-a7f8-a73bf0c30211" providerId="ADAL" clId="{287A013E-B4BE-485E-AE94-C2936752CD18}" dt="2020-09-14T11:41:51.286" v="21950"/>
          <ac:spMkLst>
            <pc:docMk/>
            <pc:sldMk cId="1969858442" sldId="257"/>
            <ac:spMk id="16" creationId="{583D8ADD-0457-4D94-BADD-5F71D6641D17}"/>
          </ac:spMkLst>
        </pc:spChg>
        <pc:spChg chg="add mod">
          <ac:chgData name="Ugo MANTEL" userId="2d5b7065-31bb-4181-a7f8-a73bf0c30211" providerId="ADAL" clId="{287A013E-B4BE-485E-AE94-C2936752CD18}" dt="2020-09-14T11:41:51.286" v="21950"/>
          <ac:spMkLst>
            <pc:docMk/>
            <pc:sldMk cId="1969858442" sldId="257"/>
            <ac:spMk id="17" creationId="{683E2732-CE2C-40E6-B8D5-3B6622A72060}"/>
          </ac:spMkLst>
        </pc:spChg>
        <pc:spChg chg="add mod">
          <ac:chgData name="Ugo MANTEL" userId="2d5b7065-31bb-4181-a7f8-a73bf0c30211" providerId="ADAL" clId="{287A013E-B4BE-485E-AE94-C2936752CD18}" dt="2020-09-14T11:41:51.286" v="21950"/>
          <ac:spMkLst>
            <pc:docMk/>
            <pc:sldMk cId="1969858442" sldId="257"/>
            <ac:spMk id="18" creationId="{8BB6001D-B3E6-4E18-8F76-F7FA9181CF28}"/>
          </ac:spMkLst>
        </pc:spChg>
        <pc:spChg chg="add mod">
          <ac:chgData name="Ugo MANTEL" userId="2d5b7065-31bb-4181-a7f8-a73bf0c30211" providerId="ADAL" clId="{287A013E-B4BE-485E-AE94-C2936752CD18}" dt="2020-09-14T11:41:51.286" v="21950"/>
          <ac:spMkLst>
            <pc:docMk/>
            <pc:sldMk cId="1969858442" sldId="257"/>
            <ac:spMk id="19" creationId="{A1B66C60-6AAF-4758-BF13-12458C059EB3}"/>
          </ac:spMkLst>
        </pc:spChg>
        <pc:spChg chg="add mod">
          <ac:chgData name="Ugo MANTEL" userId="2d5b7065-31bb-4181-a7f8-a73bf0c30211" providerId="ADAL" clId="{287A013E-B4BE-485E-AE94-C2936752CD18}" dt="2020-09-14T11:41:51.286" v="21950"/>
          <ac:spMkLst>
            <pc:docMk/>
            <pc:sldMk cId="1969858442" sldId="257"/>
            <ac:spMk id="20" creationId="{172FF06D-CF41-4287-B560-9D4C8BD088D9}"/>
          </ac:spMkLst>
        </pc:spChg>
        <pc:spChg chg="add mod">
          <ac:chgData name="Ugo MANTEL" userId="2d5b7065-31bb-4181-a7f8-a73bf0c30211" providerId="ADAL" clId="{287A013E-B4BE-485E-AE94-C2936752CD18}" dt="2020-09-14T11:41:51.286" v="21950"/>
          <ac:spMkLst>
            <pc:docMk/>
            <pc:sldMk cId="1969858442" sldId="257"/>
            <ac:spMk id="21" creationId="{8B67CEAF-AAF7-44C4-B03F-FAA649BA23B6}"/>
          </ac:spMkLst>
        </pc:spChg>
        <pc:spChg chg="add mod ord">
          <ac:chgData name="Ugo MANTEL" userId="2d5b7065-31bb-4181-a7f8-a73bf0c30211" providerId="ADAL" clId="{287A013E-B4BE-485E-AE94-C2936752CD18}" dt="2020-09-14T11:41:51.286" v="21950"/>
          <ac:spMkLst>
            <pc:docMk/>
            <pc:sldMk cId="1969858442" sldId="257"/>
            <ac:spMk id="22" creationId="{FA5324CA-8F14-4690-8F4C-11F8CF9D2D81}"/>
          </ac:spMkLst>
        </pc:spChg>
        <pc:spChg chg="add mod ord">
          <ac:chgData name="Ugo MANTEL" userId="2d5b7065-31bb-4181-a7f8-a73bf0c30211" providerId="ADAL" clId="{287A013E-B4BE-485E-AE94-C2936752CD18}" dt="2020-09-14T11:41:51.286" v="21950"/>
          <ac:spMkLst>
            <pc:docMk/>
            <pc:sldMk cId="1969858442" sldId="257"/>
            <ac:spMk id="23" creationId="{B7CD7144-DE56-4A0B-85DD-29D0ED098CCC}"/>
          </ac:spMkLst>
        </pc:spChg>
        <pc:spChg chg="add mod ord">
          <ac:chgData name="Ugo MANTEL" userId="2d5b7065-31bb-4181-a7f8-a73bf0c30211" providerId="ADAL" clId="{287A013E-B4BE-485E-AE94-C2936752CD18}" dt="2020-09-14T11:41:51.286" v="21950"/>
          <ac:spMkLst>
            <pc:docMk/>
            <pc:sldMk cId="1969858442" sldId="257"/>
            <ac:spMk id="24" creationId="{0D62016D-B3E1-485A-82B3-8DBCCF34468C}"/>
          </ac:spMkLst>
        </pc:spChg>
        <pc:spChg chg="add mod ord">
          <ac:chgData name="Ugo MANTEL" userId="2d5b7065-31bb-4181-a7f8-a73bf0c30211" providerId="ADAL" clId="{287A013E-B4BE-485E-AE94-C2936752CD18}" dt="2020-09-14T11:41:51.286" v="21950"/>
          <ac:spMkLst>
            <pc:docMk/>
            <pc:sldMk cId="1969858442" sldId="257"/>
            <ac:spMk id="25" creationId="{C0403D43-7BF5-4488-A150-60FF81635E5D}"/>
          </ac:spMkLst>
        </pc:spChg>
        <pc:spChg chg="add mod ord">
          <ac:chgData name="Ugo MANTEL" userId="2d5b7065-31bb-4181-a7f8-a73bf0c30211" providerId="ADAL" clId="{287A013E-B4BE-485E-AE94-C2936752CD18}" dt="2020-09-14T11:41:51.286" v="21950"/>
          <ac:spMkLst>
            <pc:docMk/>
            <pc:sldMk cId="1969858442" sldId="257"/>
            <ac:spMk id="26" creationId="{896C71E0-6DA9-4C5E-8D24-EDE36EF17802}"/>
          </ac:spMkLst>
        </pc:spChg>
        <pc:spChg chg="add mod ord">
          <ac:chgData name="Ugo MANTEL" userId="2d5b7065-31bb-4181-a7f8-a73bf0c30211" providerId="ADAL" clId="{287A013E-B4BE-485E-AE94-C2936752CD18}" dt="2020-09-14T11:41:51.286" v="21950"/>
          <ac:spMkLst>
            <pc:docMk/>
            <pc:sldMk cId="1969858442" sldId="257"/>
            <ac:spMk id="27" creationId="{17F8B2FC-A8D3-49F3-B4A3-AD0969E562B6}"/>
          </ac:spMkLst>
        </pc:spChg>
        <pc:spChg chg="add mod">
          <ac:chgData name="Ugo MANTEL" userId="2d5b7065-31bb-4181-a7f8-a73bf0c30211" providerId="ADAL" clId="{287A013E-B4BE-485E-AE94-C2936752CD18}" dt="2020-09-14T11:43:20.784" v="26281"/>
          <ac:spMkLst>
            <pc:docMk/>
            <pc:sldMk cId="1969858442" sldId="257"/>
            <ac:spMk id="39" creationId="{52A0F7CC-C442-4BF2-8D65-7EDC2200DF4D}"/>
          </ac:spMkLst>
        </pc:spChg>
        <pc:spChg chg="add del mod ord modVis">
          <ac:chgData name="Ugo MANTEL" userId="2d5b7065-31bb-4181-a7f8-a73bf0c30211" providerId="ADAL" clId="{287A013E-B4BE-485E-AE94-C2936752CD18}" dt="2020-09-14T11:43:20.784" v="26281"/>
          <ac:spMkLst>
            <pc:docMk/>
            <pc:sldMk cId="1969858442" sldId="257"/>
            <ac:spMk id="40" creationId="{C87EE977-793E-472B-B2C2-068E001751E4}"/>
          </ac:spMkLst>
        </pc:spChg>
        <pc:spChg chg="add mod">
          <ac:chgData name="Ugo MANTEL" userId="2d5b7065-31bb-4181-a7f8-a73bf0c30211" providerId="ADAL" clId="{287A013E-B4BE-485E-AE94-C2936752CD18}" dt="2020-09-14T11:43:20.784" v="26281"/>
          <ac:spMkLst>
            <pc:docMk/>
            <pc:sldMk cId="1969858442" sldId="257"/>
            <ac:spMk id="41" creationId="{EC6F6631-EA2D-4717-ABF3-ED4077A80BC6}"/>
          </ac:spMkLst>
        </pc:spChg>
        <pc:spChg chg="add mod">
          <ac:chgData name="Ugo MANTEL" userId="2d5b7065-31bb-4181-a7f8-a73bf0c30211" providerId="ADAL" clId="{287A013E-B4BE-485E-AE94-C2936752CD18}" dt="2020-09-14T11:43:20.784" v="26281"/>
          <ac:spMkLst>
            <pc:docMk/>
            <pc:sldMk cId="1969858442" sldId="257"/>
            <ac:spMk id="42" creationId="{2ED601F5-C4D4-4DDE-ACA2-2BFDA2A0F6A0}"/>
          </ac:spMkLst>
        </pc:spChg>
        <pc:spChg chg="add mod">
          <ac:chgData name="Ugo MANTEL" userId="2d5b7065-31bb-4181-a7f8-a73bf0c30211" providerId="ADAL" clId="{287A013E-B4BE-485E-AE94-C2936752CD18}" dt="2020-09-14T11:43:20.657" v="26055"/>
          <ac:spMkLst>
            <pc:docMk/>
            <pc:sldMk cId="1969858442" sldId="257"/>
            <ac:spMk id="47" creationId="{DB213C94-2704-4B0B-B632-97B159874742}"/>
          </ac:spMkLst>
        </pc:spChg>
        <pc:spChg chg="add mod">
          <ac:chgData name="Ugo MANTEL" userId="2d5b7065-31bb-4181-a7f8-a73bf0c30211" providerId="ADAL" clId="{287A013E-B4BE-485E-AE94-C2936752CD18}" dt="2020-09-14T11:43:20.657" v="26055"/>
          <ac:spMkLst>
            <pc:docMk/>
            <pc:sldMk cId="1969858442" sldId="257"/>
            <ac:spMk id="48" creationId="{64CB9282-8153-4560-A82B-48232CA5E9EB}"/>
          </ac:spMkLst>
        </pc:spChg>
        <pc:spChg chg="add mod">
          <ac:chgData name="Ugo MANTEL" userId="2d5b7065-31bb-4181-a7f8-a73bf0c30211" providerId="ADAL" clId="{287A013E-B4BE-485E-AE94-C2936752CD18}" dt="2020-09-14T11:43:20.657" v="26055"/>
          <ac:spMkLst>
            <pc:docMk/>
            <pc:sldMk cId="1969858442" sldId="257"/>
            <ac:spMk id="49" creationId="{9521B33F-72F6-4AA7-B204-648EB855AEB7}"/>
          </ac:spMkLst>
        </pc:spChg>
        <pc:spChg chg="add mod">
          <ac:chgData name="Ugo MANTEL" userId="2d5b7065-31bb-4181-a7f8-a73bf0c30211" providerId="ADAL" clId="{287A013E-B4BE-485E-AE94-C2936752CD18}" dt="2020-09-14T11:43:20.657" v="26055"/>
          <ac:spMkLst>
            <pc:docMk/>
            <pc:sldMk cId="1969858442" sldId="257"/>
            <ac:spMk id="50" creationId="{5B0EBB29-D163-4C9F-ACF1-FA98E897A940}"/>
          </ac:spMkLst>
        </pc:spChg>
        <pc:spChg chg="add mod">
          <ac:chgData name="Ugo MANTEL" userId="2d5b7065-31bb-4181-a7f8-a73bf0c30211" providerId="ADAL" clId="{287A013E-B4BE-485E-AE94-C2936752CD18}" dt="2020-09-14T11:43:20.657" v="26055"/>
          <ac:spMkLst>
            <pc:docMk/>
            <pc:sldMk cId="1969858442" sldId="257"/>
            <ac:spMk id="51" creationId="{B701370B-A6BF-468E-BB2B-815E0CCE3F6E}"/>
          </ac:spMkLst>
        </pc:spChg>
        <pc:spChg chg="add mod">
          <ac:chgData name="Ugo MANTEL" userId="2d5b7065-31bb-4181-a7f8-a73bf0c30211" providerId="ADAL" clId="{287A013E-B4BE-485E-AE94-C2936752CD18}" dt="2020-09-14T11:43:20.657" v="26055"/>
          <ac:spMkLst>
            <pc:docMk/>
            <pc:sldMk cId="1969858442" sldId="257"/>
            <ac:spMk id="52" creationId="{6173C031-1267-4431-A3DF-50BADD9F4AE9}"/>
          </ac:spMkLst>
        </pc:spChg>
        <pc:spChg chg="add mod">
          <ac:chgData name="Ugo MANTEL" userId="2d5b7065-31bb-4181-a7f8-a73bf0c30211" providerId="ADAL" clId="{287A013E-B4BE-485E-AE94-C2936752CD18}" dt="2020-09-14T11:43:20.657" v="26055"/>
          <ac:spMkLst>
            <pc:docMk/>
            <pc:sldMk cId="1969858442" sldId="257"/>
            <ac:spMk id="53" creationId="{9766B089-96DB-458D-A08B-DB5536321F19}"/>
          </ac:spMkLst>
        </pc:spChg>
        <pc:spChg chg="add mod">
          <ac:chgData name="Ugo MANTEL" userId="2d5b7065-31bb-4181-a7f8-a73bf0c30211" providerId="ADAL" clId="{287A013E-B4BE-485E-AE94-C2936752CD18}" dt="2020-09-14T11:43:20.657" v="26055"/>
          <ac:spMkLst>
            <pc:docMk/>
            <pc:sldMk cId="1969858442" sldId="257"/>
            <ac:spMk id="54" creationId="{B3FEC409-01F1-4BD7-BA25-044F12E5C2B2}"/>
          </ac:spMkLst>
        </pc:spChg>
        <pc:spChg chg="add mod">
          <ac:chgData name="Ugo MANTEL" userId="2d5b7065-31bb-4181-a7f8-a73bf0c30211" providerId="ADAL" clId="{287A013E-B4BE-485E-AE94-C2936752CD18}" dt="2020-09-14T11:43:20.657" v="26055"/>
          <ac:spMkLst>
            <pc:docMk/>
            <pc:sldMk cId="1969858442" sldId="257"/>
            <ac:spMk id="55" creationId="{C8862DAB-F723-42CD-A24D-90AA25B4D9E8}"/>
          </ac:spMkLst>
        </pc:spChg>
        <pc:spChg chg="add mod">
          <ac:chgData name="Ugo MANTEL" userId="2d5b7065-31bb-4181-a7f8-a73bf0c30211" providerId="ADAL" clId="{287A013E-B4BE-485E-AE94-C2936752CD18}" dt="2020-09-14T11:43:20.657" v="26055"/>
          <ac:spMkLst>
            <pc:docMk/>
            <pc:sldMk cId="1969858442" sldId="257"/>
            <ac:spMk id="56" creationId="{A53ECA9B-A956-4C12-884A-0598748F18FA}"/>
          </ac:spMkLst>
        </pc:spChg>
        <pc:spChg chg="add mod ord">
          <ac:chgData name="Ugo MANTEL" userId="2d5b7065-31bb-4181-a7f8-a73bf0c30211" providerId="ADAL" clId="{287A013E-B4BE-485E-AE94-C2936752CD18}" dt="2020-09-14T11:43:20.657" v="26055"/>
          <ac:spMkLst>
            <pc:docMk/>
            <pc:sldMk cId="1969858442" sldId="257"/>
            <ac:spMk id="57" creationId="{3F5CC650-0632-4837-9C43-6BC2A214ACC4}"/>
          </ac:spMkLst>
        </pc:spChg>
        <pc:spChg chg="add mod ord">
          <ac:chgData name="Ugo MANTEL" userId="2d5b7065-31bb-4181-a7f8-a73bf0c30211" providerId="ADAL" clId="{287A013E-B4BE-485E-AE94-C2936752CD18}" dt="2020-09-14T11:43:20.657" v="26055"/>
          <ac:spMkLst>
            <pc:docMk/>
            <pc:sldMk cId="1969858442" sldId="257"/>
            <ac:spMk id="58" creationId="{4DB81FB9-0173-4556-AA9C-F0D69F030752}"/>
          </ac:spMkLst>
        </pc:spChg>
        <pc:spChg chg="add mod ord">
          <ac:chgData name="Ugo MANTEL" userId="2d5b7065-31bb-4181-a7f8-a73bf0c30211" providerId="ADAL" clId="{287A013E-B4BE-485E-AE94-C2936752CD18}" dt="2020-09-14T11:43:20.657" v="26055"/>
          <ac:spMkLst>
            <pc:docMk/>
            <pc:sldMk cId="1969858442" sldId="257"/>
            <ac:spMk id="59" creationId="{75525D93-9F78-45FC-846D-CB7C49E116F6}"/>
          </ac:spMkLst>
        </pc:spChg>
        <pc:spChg chg="add mod ord">
          <ac:chgData name="Ugo MANTEL" userId="2d5b7065-31bb-4181-a7f8-a73bf0c30211" providerId="ADAL" clId="{287A013E-B4BE-485E-AE94-C2936752CD18}" dt="2020-09-14T11:43:20.657" v="26055"/>
          <ac:spMkLst>
            <pc:docMk/>
            <pc:sldMk cId="1969858442" sldId="257"/>
            <ac:spMk id="60" creationId="{3D1BC532-290D-47F5-9303-B535A02C31D2}"/>
          </ac:spMkLst>
        </pc:spChg>
        <pc:spChg chg="add mod ord">
          <ac:chgData name="Ugo MANTEL" userId="2d5b7065-31bb-4181-a7f8-a73bf0c30211" providerId="ADAL" clId="{287A013E-B4BE-485E-AE94-C2936752CD18}" dt="2020-09-14T11:43:20.657" v="26055"/>
          <ac:spMkLst>
            <pc:docMk/>
            <pc:sldMk cId="1969858442" sldId="257"/>
            <ac:spMk id="61" creationId="{3FB6FA27-30E1-476D-AE61-4D53B91F680A}"/>
          </ac:spMkLst>
        </pc:spChg>
        <pc:spChg chg="add mod ord">
          <ac:chgData name="Ugo MANTEL" userId="2d5b7065-31bb-4181-a7f8-a73bf0c30211" providerId="ADAL" clId="{287A013E-B4BE-485E-AE94-C2936752CD18}" dt="2020-09-14T11:43:20.657" v="26055"/>
          <ac:spMkLst>
            <pc:docMk/>
            <pc:sldMk cId="1969858442" sldId="257"/>
            <ac:spMk id="62" creationId="{20BB92DF-6730-449D-A049-F235C1C70DEC}"/>
          </ac:spMkLst>
        </pc:spChg>
        <pc:spChg chg="add del mod">
          <ac:chgData name="Ugo MANTEL" userId="2d5b7065-31bb-4181-a7f8-a73bf0c30211" providerId="ADAL" clId="{287A013E-B4BE-485E-AE94-C2936752CD18}" dt="2020-09-14T11:43:19.699" v="25252"/>
          <ac:spMkLst>
            <pc:docMk/>
            <pc:sldMk cId="1969858442" sldId="257"/>
            <ac:spMk id="75" creationId="{26527F74-E2E7-4C56-9AD8-2891C46C77A6}"/>
          </ac:spMkLst>
        </pc:spChg>
        <pc:spChg chg="add del mod">
          <ac:chgData name="Ugo MANTEL" userId="2d5b7065-31bb-4181-a7f8-a73bf0c30211" providerId="ADAL" clId="{287A013E-B4BE-485E-AE94-C2936752CD18}" dt="2020-09-14T11:43:17.338" v="25154"/>
          <ac:spMkLst>
            <pc:docMk/>
            <pc:sldMk cId="1969858442" sldId="257"/>
            <ac:spMk id="78" creationId="{58666350-5FF4-49E5-A4CE-2B0FD4839A70}"/>
          </ac:spMkLst>
        </pc:spChg>
        <pc:graphicFrameChg chg="add del mod ord">
          <ac:chgData name="Ugo MANTEL" userId="2d5b7065-31bb-4181-a7f8-a73bf0c30211" providerId="ADAL" clId="{287A013E-B4BE-485E-AE94-C2936752CD18}" dt="2020-09-14T11:41:52.795" v="22179"/>
          <ac:graphicFrameMkLst>
            <pc:docMk/>
            <pc:sldMk cId="1969858442" sldId="257"/>
            <ac:graphicFrameMk id="10" creationId="{8722A1C3-DBBC-4DC5-B69C-7C6CBD971CBE}"/>
          </ac:graphicFrameMkLst>
        </pc:graphicFrameChg>
        <pc:graphicFrameChg chg="add del mod ord modVis">
          <ac:chgData name="Ugo MANTEL" userId="2d5b7065-31bb-4181-a7f8-a73bf0c30211" providerId="ADAL" clId="{287A013E-B4BE-485E-AE94-C2936752CD18}" dt="2020-09-14T11:41:52.795" v="22179"/>
          <ac:graphicFrameMkLst>
            <pc:docMk/>
            <pc:sldMk cId="1969858442" sldId="257"/>
            <ac:graphicFrameMk id="11" creationId="{997E535C-087D-4E02-B38E-A60946CDB7C5}"/>
          </ac:graphicFrameMkLst>
        </pc:graphicFrameChg>
        <pc:graphicFrameChg chg="add mod ord">
          <ac:chgData name="Ugo MANTEL" userId="2d5b7065-31bb-4181-a7f8-a73bf0c30211" providerId="ADAL" clId="{287A013E-B4BE-485E-AE94-C2936752CD18}" dt="2020-09-14T11:41:51.286" v="21950"/>
          <ac:graphicFrameMkLst>
            <pc:docMk/>
            <pc:sldMk cId="1969858442" sldId="257"/>
            <ac:graphicFrameMk id="38" creationId="{156AD8DC-3A8E-4F04-AD6F-5E9A1A40CF6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20.784" v="26281"/>
          <ac:graphicFrameMkLst>
            <pc:docMk/>
            <pc:sldMk cId="1969858442" sldId="257"/>
            <ac:graphicFrameMk id="45" creationId="{57F7E3B0-5E34-4796-B95A-BC55E2F4F4FD}"/>
          </ac:graphicFrameMkLst>
        </pc:graphicFrameChg>
        <pc:graphicFrameChg chg="add del mod ord modVis">
          <ac:chgData name="Ugo MANTEL" userId="2d5b7065-31bb-4181-a7f8-a73bf0c30211" providerId="ADAL" clId="{287A013E-B4BE-485E-AE94-C2936752CD18}" dt="2020-09-14T11:43:20.784" v="26281"/>
          <ac:graphicFrameMkLst>
            <pc:docMk/>
            <pc:sldMk cId="1969858442" sldId="257"/>
            <ac:graphicFrameMk id="46" creationId="{307B3A39-81EC-4688-9316-FAEC74C487C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20.657" v="26055"/>
          <ac:graphicFrameMkLst>
            <pc:docMk/>
            <pc:sldMk cId="1969858442" sldId="257"/>
            <ac:graphicFrameMk id="73" creationId="{E30EDBBD-7CE2-4315-AD45-C0F0DC560AE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20.048" v="25351"/>
          <ac:graphicFrameMkLst>
            <pc:docMk/>
            <pc:sldMk cId="1969858442" sldId="257"/>
            <ac:graphicFrameMk id="74" creationId="{D81882BC-EA9F-4989-801E-7132FC0B9EC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19.699" v="25252"/>
          <ac:graphicFrameMkLst>
            <pc:docMk/>
            <pc:sldMk cId="1969858442" sldId="257"/>
            <ac:graphicFrameMk id="76" creationId="{77947969-5B49-4181-AC1F-561A9B0DBD0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19.699" v="25252"/>
          <ac:graphicFrameMkLst>
            <pc:docMk/>
            <pc:sldMk cId="1969858442" sldId="257"/>
            <ac:graphicFrameMk id="77" creationId="{200626A5-BE40-4FAC-AC0F-DA1E9AEAF82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17.338" v="25154"/>
          <ac:graphicFrameMkLst>
            <pc:docMk/>
            <pc:sldMk cId="1969858442" sldId="257"/>
            <ac:graphicFrameMk id="79" creationId="{D719E31A-FBEB-40BB-AF85-F7CD74AE2BA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1:43:16.070" v="25080"/>
          <ac:graphicFrameMkLst>
            <pc:docMk/>
            <pc:sldMk cId="1969858442" sldId="257"/>
            <ac:graphicFrameMk id="80" creationId="{27093CE1-B6BC-41A0-ACF4-0A5737A48711}"/>
          </ac:graphicFrameMkLst>
        </pc:graphicFrameChg>
        <pc:graphicFrameChg chg="add mod ord">
          <ac:chgData name="Ugo MANTEL" userId="2d5b7065-31bb-4181-a7f8-a73bf0c30211" providerId="ADAL" clId="{287A013E-B4BE-485E-AE94-C2936752CD18}" dt="2020-09-14T11:43:16.070" v="25080"/>
          <ac:graphicFrameMkLst>
            <pc:docMk/>
            <pc:sldMk cId="1969858442" sldId="257"/>
            <ac:graphicFrameMk id="81" creationId="{2960CF6E-9CF2-4A24-B8BC-015C2C4D4765}"/>
          </ac:graphicFrameMkLst>
        </pc:graphicFrameChg>
        <pc:cxnChg chg="add del mod ord">
          <ac:chgData name="Ugo MANTEL" userId="2d5b7065-31bb-4181-a7f8-a73bf0c30211" providerId="ADAL" clId="{287A013E-B4BE-485E-AE94-C2936752CD18}" dt="2020-09-14T11:41:52.795" v="22179"/>
          <ac:cxnSpMkLst>
            <pc:docMk/>
            <pc:sldMk cId="1969858442" sldId="257"/>
            <ac:cxnSpMk id="8" creationId="{0076C2D8-BFEB-4D86-B667-2524B6569CF1}"/>
          </ac:cxnSpMkLst>
        </pc:cxnChg>
        <pc:cxnChg chg="add del mod ord">
          <ac:chgData name="Ugo MANTEL" userId="2d5b7065-31bb-4181-a7f8-a73bf0c30211" providerId="ADAL" clId="{287A013E-B4BE-485E-AE94-C2936752CD18}" dt="2020-09-14T11:41:52.795" v="22179"/>
          <ac:cxnSpMkLst>
            <pc:docMk/>
            <pc:sldMk cId="1969858442" sldId="257"/>
            <ac:cxnSpMk id="9" creationId="{AB09240D-0D04-475D-9F9F-B6467CD1D106}"/>
          </ac:cxnSpMkLst>
        </pc:cxnChg>
        <pc:cxnChg chg="add del mod ord">
          <ac:chgData name="Ugo MANTEL" userId="2d5b7065-31bb-4181-a7f8-a73bf0c30211" providerId="ADAL" clId="{287A013E-B4BE-485E-AE94-C2936752CD18}" dt="2020-09-14T11:41:51.286" v="21950"/>
          <ac:cxnSpMkLst>
            <pc:docMk/>
            <pc:sldMk cId="1969858442" sldId="257"/>
            <ac:cxnSpMk id="28" creationId="{EF6F6B1A-FE4B-4569-B852-2C531FEB785C}"/>
          </ac:cxnSpMkLst>
        </pc:cxnChg>
        <pc:cxnChg chg="add del mod ord">
          <ac:chgData name="Ugo MANTEL" userId="2d5b7065-31bb-4181-a7f8-a73bf0c30211" providerId="ADAL" clId="{287A013E-B4BE-485E-AE94-C2936752CD18}" dt="2020-09-14T11:41:51.286" v="21950"/>
          <ac:cxnSpMkLst>
            <pc:docMk/>
            <pc:sldMk cId="1969858442" sldId="257"/>
            <ac:cxnSpMk id="29" creationId="{1072C81F-D8E5-4811-B7A1-087ED7A0CC66}"/>
          </ac:cxnSpMkLst>
        </pc:cxnChg>
        <pc:cxnChg chg="add del mod ord">
          <ac:chgData name="Ugo MANTEL" userId="2d5b7065-31bb-4181-a7f8-a73bf0c30211" providerId="ADAL" clId="{287A013E-B4BE-485E-AE94-C2936752CD18}" dt="2020-09-14T11:41:51.286" v="21950"/>
          <ac:cxnSpMkLst>
            <pc:docMk/>
            <pc:sldMk cId="1969858442" sldId="257"/>
            <ac:cxnSpMk id="30" creationId="{0BDE5159-2E66-49B3-9A2E-7A4625715B51}"/>
          </ac:cxnSpMkLst>
        </pc:cxnChg>
        <pc:cxnChg chg="add del mod ord">
          <ac:chgData name="Ugo MANTEL" userId="2d5b7065-31bb-4181-a7f8-a73bf0c30211" providerId="ADAL" clId="{287A013E-B4BE-485E-AE94-C2936752CD18}" dt="2020-09-14T11:41:51.286" v="21950"/>
          <ac:cxnSpMkLst>
            <pc:docMk/>
            <pc:sldMk cId="1969858442" sldId="257"/>
            <ac:cxnSpMk id="31" creationId="{19D4541A-D8FB-4203-8875-55F26B67D6F8}"/>
          </ac:cxnSpMkLst>
        </pc:cxnChg>
        <pc:cxnChg chg="add del mod ord">
          <ac:chgData name="Ugo MANTEL" userId="2d5b7065-31bb-4181-a7f8-a73bf0c30211" providerId="ADAL" clId="{287A013E-B4BE-485E-AE94-C2936752CD18}" dt="2020-09-14T11:41:51.286" v="21950"/>
          <ac:cxnSpMkLst>
            <pc:docMk/>
            <pc:sldMk cId="1969858442" sldId="257"/>
            <ac:cxnSpMk id="32" creationId="{9AADE1F2-AACF-4BF0-964F-4D769F001287}"/>
          </ac:cxnSpMkLst>
        </pc:cxnChg>
        <pc:cxnChg chg="add del mod ord">
          <ac:chgData name="Ugo MANTEL" userId="2d5b7065-31bb-4181-a7f8-a73bf0c30211" providerId="ADAL" clId="{287A013E-B4BE-485E-AE94-C2936752CD18}" dt="2020-09-14T11:41:51.286" v="21950"/>
          <ac:cxnSpMkLst>
            <pc:docMk/>
            <pc:sldMk cId="1969858442" sldId="257"/>
            <ac:cxnSpMk id="33" creationId="{E25002A6-E6E3-4873-A0C3-7CD2FE4551ED}"/>
          </ac:cxnSpMkLst>
        </pc:cxnChg>
        <pc:cxnChg chg="add del mod ord">
          <ac:chgData name="Ugo MANTEL" userId="2d5b7065-31bb-4181-a7f8-a73bf0c30211" providerId="ADAL" clId="{287A013E-B4BE-485E-AE94-C2936752CD18}" dt="2020-09-14T11:41:51.286" v="21950"/>
          <ac:cxnSpMkLst>
            <pc:docMk/>
            <pc:sldMk cId="1969858442" sldId="257"/>
            <ac:cxnSpMk id="34" creationId="{D7EDB022-BA33-434F-9214-0371CF1D7123}"/>
          </ac:cxnSpMkLst>
        </pc:cxnChg>
        <pc:cxnChg chg="add del mod ord">
          <ac:chgData name="Ugo MANTEL" userId="2d5b7065-31bb-4181-a7f8-a73bf0c30211" providerId="ADAL" clId="{287A013E-B4BE-485E-AE94-C2936752CD18}" dt="2020-09-14T11:41:51.286" v="21950"/>
          <ac:cxnSpMkLst>
            <pc:docMk/>
            <pc:sldMk cId="1969858442" sldId="257"/>
            <ac:cxnSpMk id="35" creationId="{6CC521B7-D01B-48BD-BD6D-FEC49907E493}"/>
          </ac:cxnSpMkLst>
        </pc:cxnChg>
        <pc:cxnChg chg="add del mod ord">
          <ac:chgData name="Ugo MANTEL" userId="2d5b7065-31bb-4181-a7f8-a73bf0c30211" providerId="ADAL" clId="{287A013E-B4BE-485E-AE94-C2936752CD18}" dt="2020-09-14T11:41:51.286" v="21950"/>
          <ac:cxnSpMkLst>
            <pc:docMk/>
            <pc:sldMk cId="1969858442" sldId="257"/>
            <ac:cxnSpMk id="36" creationId="{449EEC39-F51B-4A75-BF41-02A6613B7FAB}"/>
          </ac:cxnSpMkLst>
        </pc:cxnChg>
        <pc:cxnChg chg="add del mod ord">
          <ac:chgData name="Ugo MANTEL" userId="2d5b7065-31bb-4181-a7f8-a73bf0c30211" providerId="ADAL" clId="{287A013E-B4BE-485E-AE94-C2936752CD18}" dt="2020-09-14T11:41:51.286" v="21950"/>
          <ac:cxnSpMkLst>
            <pc:docMk/>
            <pc:sldMk cId="1969858442" sldId="257"/>
            <ac:cxnSpMk id="37" creationId="{9A197D98-4E10-48E8-9398-D5B3435FE3B9}"/>
          </ac:cxnSpMkLst>
        </pc:cxnChg>
        <pc:cxnChg chg="add del mod ord">
          <ac:chgData name="Ugo MANTEL" userId="2d5b7065-31bb-4181-a7f8-a73bf0c30211" providerId="ADAL" clId="{287A013E-B4BE-485E-AE94-C2936752CD18}" dt="2020-09-14T11:43:20.784" v="26281"/>
          <ac:cxnSpMkLst>
            <pc:docMk/>
            <pc:sldMk cId="1969858442" sldId="257"/>
            <ac:cxnSpMk id="43" creationId="{868D2BEE-69AC-426E-AE3C-99FC646A089B}"/>
          </ac:cxnSpMkLst>
        </pc:cxnChg>
        <pc:cxnChg chg="add del mod ord">
          <ac:chgData name="Ugo MANTEL" userId="2d5b7065-31bb-4181-a7f8-a73bf0c30211" providerId="ADAL" clId="{287A013E-B4BE-485E-AE94-C2936752CD18}" dt="2020-09-14T11:43:20.784" v="26281"/>
          <ac:cxnSpMkLst>
            <pc:docMk/>
            <pc:sldMk cId="1969858442" sldId="257"/>
            <ac:cxnSpMk id="44" creationId="{819AEBFC-8A15-42BD-BD3D-057D3D16673F}"/>
          </ac:cxnSpMkLst>
        </pc:cxnChg>
        <pc:cxnChg chg="add del mod ord">
          <ac:chgData name="Ugo MANTEL" userId="2d5b7065-31bb-4181-a7f8-a73bf0c30211" providerId="ADAL" clId="{287A013E-B4BE-485E-AE94-C2936752CD18}" dt="2020-09-14T11:43:20.657" v="26055"/>
          <ac:cxnSpMkLst>
            <pc:docMk/>
            <pc:sldMk cId="1969858442" sldId="257"/>
            <ac:cxnSpMk id="63" creationId="{A2FBEC46-AA36-433E-B577-AE1EA76BE318}"/>
          </ac:cxnSpMkLst>
        </pc:cxnChg>
        <pc:cxnChg chg="add del mod ord">
          <ac:chgData name="Ugo MANTEL" userId="2d5b7065-31bb-4181-a7f8-a73bf0c30211" providerId="ADAL" clId="{287A013E-B4BE-485E-AE94-C2936752CD18}" dt="2020-09-14T11:43:20.657" v="26055"/>
          <ac:cxnSpMkLst>
            <pc:docMk/>
            <pc:sldMk cId="1969858442" sldId="257"/>
            <ac:cxnSpMk id="64" creationId="{3009D358-FFC9-46CA-AE57-48B60517C7D7}"/>
          </ac:cxnSpMkLst>
        </pc:cxnChg>
        <pc:cxnChg chg="add del mod ord">
          <ac:chgData name="Ugo MANTEL" userId="2d5b7065-31bb-4181-a7f8-a73bf0c30211" providerId="ADAL" clId="{287A013E-B4BE-485E-AE94-C2936752CD18}" dt="2020-09-14T11:43:20.657" v="26055"/>
          <ac:cxnSpMkLst>
            <pc:docMk/>
            <pc:sldMk cId="1969858442" sldId="257"/>
            <ac:cxnSpMk id="65" creationId="{F16B1C5A-E6EA-47EE-BADE-D45D870F36B2}"/>
          </ac:cxnSpMkLst>
        </pc:cxnChg>
        <pc:cxnChg chg="add del mod ord">
          <ac:chgData name="Ugo MANTEL" userId="2d5b7065-31bb-4181-a7f8-a73bf0c30211" providerId="ADAL" clId="{287A013E-B4BE-485E-AE94-C2936752CD18}" dt="2020-09-14T11:43:20.657" v="26055"/>
          <ac:cxnSpMkLst>
            <pc:docMk/>
            <pc:sldMk cId="1969858442" sldId="257"/>
            <ac:cxnSpMk id="66" creationId="{5606666F-0024-4BD7-AE38-01645F69B663}"/>
          </ac:cxnSpMkLst>
        </pc:cxnChg>
        <pc:cxnChg chg="add del mod ord">
          <ac:chgData name="Ugo MANTEL" userId="2d5b7065-31bb-4181-a7f8-a73bf0c30211" providerId="ADAL" clId="{287A013E-B4BE-485E-AE94-C2936752CD18}" dt="2020-09-14T11:43:20.657" v="26055"/>
          <ac:cxnSpMkLst>
            <pc:docMk/>
            <pc:sldMk cId="1969858442" sldId="257"/>
            <ac:cxnSpMk id="67" creationId="{B3FA4B01-947B-4BB9-98EA-324C265AC049}"/>
          </ac:cxnSpMkLst>
        </pc:cxnChg>
        <pc:cxnChg chg="add del mod ord">
          <ac:chgData name="Ugo MANTEL" userId="2d5b7065-31bb-4181-a7f8-a73bf0c30211" providerId="ADAL" clId="{287A013E-B4BE-485E-AE94-C2936752CD18}" dt="2020-09-14T11:43:20.657" v="26055"/>
          <ac:cxnSpMkLst>
            <pc:docMk/>
            <pc:sldMk cId="1969858442" sldId="257"/>
            <ac:cxnSpMk id="68" creationId="{FFB2B2CF-2BA7-4B43-810D-F041768C58C8}"/>
          </ac:cxnSpMkLst>
        </pc:cxnChg>
        <pc:cxnChg chg="add del mod ord">
          <ac:chgData name="Ugo MANTEL" userId="2d5b7065-31bb-4181-a7f8-a73bf0c30211" providerId="ADAL" clId="{287A013E-B4BE-485E-AE94-C2936752CD18}" dt="2020-09-14T11:43:20.657" v="26055"/>
          <ac:cxnSpMkLst>
            <pc:docMk/>
            <pc:sldMk cId="1969858442" sldId="257"/>
            <ac:cxnSpMk id="69" creationId="{A1480201-EABB-4B3C-931F-A6B2871E67AB}"/>
          </ac:cxnSpMkLst>
        </pc:cxnChg>
        <pc:cxnChg chg="add del mod ord">
          <ac:chgData name="Ugo MANTEL" userId="2d5b7065-31bb-4181-a7f8-a73bf0c30211" providerId="ADAL" clId="{287A013E-B4BE-485E-AE94-C2936752CD18}" dt="2020-09-14T11:43:20.657" v="26055"/>
          <ac:cxnSpMkLst>
            <pc:docMk/>
            <pc:sldMk cId="1969858442" sldId="257"/>
            <ac:cxnSpMk id="70" creationId="{2D8A2E97-A8CB-4245-8FD1-A5BA49EADFAE}"/>
          </ac:cxnSpMkLst>
        </pc:cxnChg>
        <pc:cxnChg chg="add del mod ord">
          <ac:chgData name="Ugo MANTEL" userId="2d5b7065-31bb-4181-a7f8-a73bf0c30211" providerId="ADAL" clId="{287A013E-B4BE-485E-AE94-C2936752CD18}" dt="2020-09-14T11:43:20.657" v="26055"/>
          <ac:cxnSpMkLst>
            <pc:docMk/>
            <pc:sldMk cId="1969858442" sldId="257"/>
            <ac:cxnSpMk id="71" creationId="{10D76775-E89B-4171-A055-549DD8701A67}"/>
          </ac:cxnSpMkLst>
        </pc:cxnChg>
        <pc:cxnChg chg="add del mod ord">
          <ac:chgData name="Ugo MANTEL" userId="2d5b7065-31bb-4181-a7f8-a73bf0c30211" providerId="ADAL" clId="{287A013E-B4BE-485E-AE94-C2936752CD18}" dt="2020-09-14T11:43:20.657" v="26055"/>
          <ac:cxnSpMkLst>
            <pc:docMk/>
            <pc:sldMk cId="1969858442" sldId="257"/>
            <ac:cxnSpMk id="72" creationId="{83C12D27-25DC-4B09-95BE-B6E6368CC7DF}"/>
          </ac:cxnSpMkLst>
        </pc:cxnChg>
      </pc:sldChg>
      <pc:sldChg chg="addSp delSp modSp add mod">
        <pc:chgData name="Ugo MANTEL" userId="2d5b7065-31bb-4181-a7f8-a73bf0c30211" providerId="ADAL" clId="{287A013E-B4BE-485E-AE94-C2936752CD18}" dt="2020-09-14T12:52:20.353" v="32134"/>
        <pc:sldMkLst>
          <pc:docMk/>
          <pc:sldMk cId="2478432662" sldId="257"/>
        </pc:sldMkLst>
        <pc:spChg chg="mod">
          <ac:chgData name="Ugo MANTEL" userId="2d5b7065-31bb-4181-a7f8-a73bf0c30211" providerId="ADAL" clId="{287A013E-B4BE-485E-AE94-C2936752CD18}" dt="2020-09-14T12:52:19.847" v="32132" actId="20577"/>
          <ac:spMkLst>
            <pc:docMk/>
            <pc:sldMk cId="2478432662" sldId="257"/>
            <ac:spMk id="2" creationId="{5FB7E987-01B8-492B-B78E-0EA088CC8C8A}"/>
          </ac:spMkLst>
        </pc:spChg>
        <pc:spChg chg="mod ord">
          <ac:chgData name="Ugo MANTEL" userId="2d5b7065-31bb-4181-a7f8-a73bf0c30211" providerId="ADAL" clId="{287A013E-B4BE-485E-AE94-C2936752CD18}" dt="2020-09-14T12:50:48.083" v="32057"/>
          <ac:spMkLst>
            <pc:docMk/>
            <pc:sldMk cId="2478432662" sldId="257"/>
            <ac:spMk id="3" creationId="{B6CB9626-71CD-4BA3-B2F8-3277490C0DFB}"/>
          </ac:spMkLst>
        </pc:spChg>
        <pc:spChg chg="mod">
          <ac:chgData name="Ugo MANTEL" userId="2d5b7065-31bb-4181-a7f8-a73bf0c30211" providerId="ADAL" clId="{287A013E-B4BE-485E-AE94-C2936752CD18}" dt="2020-09-14T12:50:48.102" v="32102"/>
          <ac:spMkLst>
            <pc:docMk/>
            <pc:sldMk cId="2478432662" sldId="257"/>
            <ac:spMk id="29" creationId="{08514D1F-E741-4343-B2BB-920A0046EF84}"/>
          </ac:spMkLst>
        </pc:spChg>
        <pc:spChg chg="mod">
          <ac:chgData name="Ugo MANTEL" userId="2d5b7065-31bb-4181-a7f8-a73bf0c30211" providerId="ADAL" clId="{287A013E-B4BE-485E-AE94-C2936752CD18}" dt="2020-09-14T12:50:48.108" v="32119"/>
          <ac:spMkLst>
            <pc:docMk/>
            <pc:sldMk cId="2478432662" sldId="257"/>
            <ac:spMk id="30" creationId="{61CB25F0-5394-4BD8-92E6-16389BDD1EA6}"/>
          </ac:spMkLst>
        </pc:spChg>
        <pc:spChg chg="mod">
          <ac:chgData name="Ugo MANTEL" userId="2d5b7065-31bb-4181-a7f8-a73bf0c30211" providerId="ADAL" clId="{287A013E-B4BE-485E-AE94-C2936752CD18}" dt="2020-09-14T12:50:48.105" v="32109"/>
          <ac:spMkLst>
            <pc:docMk/>
            <pc:sldMk cId="2478432662" sldId="257"/>
            <ac:spMk id="31" creationId="{2EFB888C-24EA-4799-91EC-4D24BB2A552B}"/>
          </ac:spMkLst>
        </pc:spChg>
        <pc:spChg chg="mod">
          <ac:chgData name="Ugo MANTEL" userId="2d5b7065-31bb-4181-a7f8-a73bf0c30211" providerId="ADAL" clId="{287A013E-B4BE-485E-AE94-C2936752CD18}" dt="2020-09-14T12:50:48.109" v="32123"/>
          <ac:spMkLst>
            <pc:docMk/>
            <pc:sldMk cId="2478432662" sldId="257"/>
            <ac:spMk id="32" creationId="{4DE26C2D-BCED-4E76-91EF-6BA802819216}"/>
          </ac:spMkLst>
        </pc:spChg>
        <pc:spChg chg="mod">
          <ac:chgData name="Ugo MANTEL" userId="2d5b7065-31bb-4181-a7f8-a73bf0c30211" providerId="ADAL" clId="{287A013E-B4BE-485E-AE94-C2936752CD18}" dt="2020-09-14T12:50:48.103" v="32104"/>
          <ac:spMkLst>
            <pc:docMk/>
            <pc:sldMk cId="2478432662" sldId="257"/>
            <ac:spMk id="33" creationId="{FB71B4E2-CD7D-4ED9-B59C-1DAEEF4D752B}"/>
          </ac:spMkLst>
        </pc:spChg>
        <pc:spChg chg="mod">
          <ac:chgData name="Ugo MANTEL" userId="2d5b7065-31bb-4181-a7f8-a73bf0c30211" providerId="ADAL" clId="{287A013E-B4BE-485E-AE94-C2936752CD18}" dt="2020-09-14T12:50:48.103" v="32103"/>
          <ac:spMkLst>
            <pc:docMk/>
            <pc:sldMk cId="2478432662" sldId="257"/>
            <ac:spMk id="34" creationId="{FED6F1E6-6643-4D4B-9413-16622D2E3CE2}"/>
          </ac:spMkLst>
        </pc:spChg>
        <pc:spChg chg="mod">
          <ac:chgData name="Ugo MANTEL" userId="2d5b7065-31bb-4181-a7f8-a73bf0c30211" providerId="ADAL" clId="{287A013E-B4BE-485E-AE94-C2936752CD18}" dt="2020-09-14T12:50:48.108" v="32120"/>
          <ac:spMkLst>
            <pc:docMk/>
            <pc:sldMk cId="2478432662" sldId="257"/>
            <ac:spMk id="35" creationId="{00714E26-EC36-4A85-960D-3EDA17D5A276}"/>
          </ac:spMkLst>
        </pc:spChg>
        <pc:spChg chg="mod">
          <ac:chgData name="Ugo MANTEL" userId="2d5b7065-31bb-4181-a7f8-a73bf0c30211" providerId="ADAL" clId="{287A013E-B4BE-485E-AE94-C2936752CD18}" dt="2020-09-14T12:50:48.109" v="32125"/>
          <ac:spMkLst>
            <pc:docMk/>
            <pc:sldMk cId="2478432662" sldId="257"/>
            <ac:spMk id="36" creationId="{33094E6A-D62C-4FB5-AA4B-9A8F898CA1E7}"/>
          </ac:spMkLst>
        </pc:spChg>
        <pc:spChg chg="mod">
          <ac:chgData name="Ugo MANTEL" userId="2d5b7065-31bb-4181-a7f8-a73bf0c30211" providerId="ADAL" clId="{287A013E-B4BE-485E-AE94-C2936752CD18}" dt="2020-09-14T12:50:48.107" v="32118"/>
          <ac:spMkLst>
            <pc:docMk/>
            <pc:sldMk cId="2478432662" sldId="257"/>
            <ac:spMk id="37" creationId="{2120A82C-648E-40A2-A75A-D6C8537E9C96}"/>
          </ac:spMkLst>
        </pc:spChg>
        <pc:spChg chg="mod">
          <ac:chgData name="Ugo MANTEL" userId="2d5b7065-31bb-4181-a7f8-a73bf0c30211" providerId="ADAL" clId="{287A013E-B4BE-485E-AE94-C2936752CD18}" dt="2020-09-14T12:50:48.103" v="32105"/>
          <ac:spMkLst>
            <pc:docMk/>
            <pc:sldMk cId="2478432662" sldId="257"/>
            <ac:spMk id="38" creationId="{97449C5F-EFB9-4A77-BB80-08ACD8569C4D}"/>
          </ac:spMkLst>
        </pc:spChg>
        <pc:spChg chg="mod">
          <ac:chgData name="Ugo MANTEL" userId="2d5b7065-31bb-4181-a7f8-a73bf0c30211" providerId="ADAL" clId="{287A013E-B4BE-485E-AE94-C2936752CD18}" dt="2020-09-14T12:50:48.108" v="32122"/>
          <ac:spMkLst>
            <pc:docMk/>
            <pc:sldMk cId="2478432662" sldId="257"/>
            <ac:spMk id="39" creationId="{85D2B09C-7410-4FEA-B6D7-C4A5A091ADA8}"/>
          </ac:spMkLst>
        </pc:spChg>
        <pc:spChg chg="mod">
          <ac:chgData name="Ugo MANTEL" userId="2d5b7065-31bb-4181-a7f8-a73bf0c30211" providerId="ADAL" clId="{287A013E-B4BE-485E-AE94-C2936752CD18}" dt="2020-09-14T12:50:48.107" v="32117"/>
          <ac:spMkLst>
            <pc:docMk/>
            <pc:sldMk cId="2478432662" sldId="257"/>
            <ac:spMk id="40" creationId="{39A82838-48B4-4A6D-BE00-031201B45A51}"/>
          </ac:spMkLst>
        </pc:spChg>
        <pc:spChg chg="mod">
          <ac:chgData name="Ugo MANTEL" userId="2d5b7065-31bb-4181-a7f8-a73bf0c30211" providerId="ADAL" clId="{287A013E-B4BE-485E-AE94-C2936752CD18}" dt="2020-09-14T12:50:48.106" v="32114"/>
          <ac:spMkLst>
            <pc:docMk/>
            <pc:sldMk cId="2478432662" sldId="257"/>
            <ac:spMk id="41" creationId="{C152E67D-402B-4387-8DB5-DF4CAE9F853F}"/>
          </ac:spMkLst>
        </pc:spChg>
        <pc:spChg chg="mod ord">
          <ac:chgData name="Ugo MANTEL" userId="2d5b7065-31bb-4181-a7f8-a73bf0c30211" providerId="ADAL" clId="{287A013E-B4BE-485E-AE94-C2936752CD18}" dt="2020-09-14T12:50:48.082" v="32054"/>
          <ac:spMkLst>
            <pc:docMk/>
            <pc:sldMk cId="2478432662" sldId="257"/>
            <ac:spMk id="42" creationId="{1CDC1D26-5559-48E5-A3EA-95A60632EA3F}"/>
          </ac:spMkLst>
        </pc:spChg>
        <pc:spChg chg="add del mod">
          <ac:chgData name="Ugo MANTEL" userId="2d5b7065-31bb-4181-a7f8-a73bf0c30211" providerId="ADAL" clId="{287A013E-B4BE-485E-AE94-C2936752CD18}" dt="2020-09-14T12:50:39.431" v="31465"/>
          <ac:spMkLst>
            <pc:docMk/>
            <pc:sldMk cId="2478432662" sldId="257"/>
            <ac:spMk id="54" creationId="{FCD7B704-332B-4636-BF79-E9E760EAAACE}"/>
          </ac:spMkLst>
        </pc:spChg>
        <pc:spChg chg="add del mod">
          <ac:chgData name="Ugo MANTEL" userId="2d5b7065-31bb-4181-a7f8-a73bf0c30211" providerId="ADAL" clId="{287A013E-B4BE-485E-AE94-C2936752CD18}" dt="2020-09-14T12:50:43.341" v="31699"/>
          <ac:spMkLst>
            <pc:docMk/>
            <pc:sldMk cId="2478432662" sldId="257"/>
            <ac:spMk id="56" creationId="{6EA011A5-02AC-4A6F-9AE9-FA2B9B259DBA}"/>
          </ac:spMkLst>
        </pc:spChg>
        <pc:spChg chg="add del mod">
          <ac:chgData name="Ugo MANTEL" userId="2d5b7065-31bb-4181-a7f8-a73bf0c30211" providerId="ADAL" clId="{287A013E-B4BE-485E-AE94-C2936752CD18}" dt="2020-09-14T12:50:47.984" v="31927"/>
          <ac:spMkLst>
            <pc:docMk/>
            <pc:sldMk cId="2478432662" sldId="257"/>
            <ac:spMk id="57" creationId="{BABF5772-4FDA-43BC-AE28-2BA22DD2E12A}"/>
          </ac:spMkLst>
        </pc:spChg>
        <pc:spChg chg="add mod">
          <ac:chgData name="Ugo MANTEL" userId="2d5b7065-31bb-4181-a7f8-a73bf0c30211" providerId="ADAL" clId="{287A013E-B4BE-485E-AE94-C2936752CD18}" dt="2020-09-14T12:50:48.110" v="32127"/>
          <ac:spMkLst>
            <pc:docMk/>
            <pc:sldMk cId="2478432662" sldId="257"/>
            <ac:spMk id="61" creationId="{2674AC2A-CD88-4B9C-B139-84B02CB6730A}"/>
          </ac:spMkLst>
        </pc:spChg>
        <pc:spChg chg="add mod">
          <ac:chgData name="Ugo MANTEL" userId="2d5b7065-31bb-4181-a7f8-a73bf0c30211" providerId="ADAL" clId="{287A013E-B4BE-485E-AE94-C2936752CD18}" dt="2020-09-14T12:50:48.105" v="32111"/>
          <ac:spMkLst>
            <pc:docMk/>
            <pc:sldMk cId="2478432662" sldId="257"/>
            <ac:spMk id="63" creationId="{259E7688-FFFF-4E3F-AA08-89827CC38777}"/>
          </ac:spMkLst>
        </pc:spChg>
        <pc:spChg chg="add mod">
          <ac:chgData name="Ugo MANTEL" userId="2d5b7065-31bb-4181-a7f8-a73bf0c30211" providerId="ADAL" clId="{287A013E-B4BE-485E-AE94-C2936752CD18}" dt="2020-09-14T12:50:48.104" v="32107"/>
          <ac:spMkLst>
            <pc:docMk/>
            <pc:sldMk cId="2478432662" sldId="257"/>
            <ac:spMk id="66" creationId="{BEFA5DD4-8005-4BC0-B81D-BE2A10F0A785}"/>
          </ac:spMkLst>
        </pc:spChg>
        <pc:spChg chg="mod">
          <ac:chgData name="Ugo MANTEL" userId="2d5b7065-31bb-4181-a7f8-a73bf0c30211" providerId="ADAL" clId="{287A013E-B4BE-485E-AE94-C2936752CD18}" dt="2020-09-14T12:50:48.110" v="32126"/>
          <ac:spMkLst>
            <pc:docMk/>
            <pc:sldMk cId="2478432662" sldId="257"/>
            <ac:spMk id="165" creationId="{5C34D846-5CB4-44D6-A90D-D126F6A15053}"/>
          </ac:spMkLst>
        </pc:spChg>
        <pc:spChg chg="mod">
          <ac:chgData name="Ugo MANTEL" userId="2d5b7065-31bb-4181-a7f8-a73bf0c30211" providerId="ADAL" clId="{287A013E-B4BE-485E-AE94-C2936752CD18}" dt="2020-09-14T12:50:48.104" v="32106"/>
          <ac:spMkLst>
            <pc:docMk/>
            <pc:sldMk cId="2478432662" sldId="257"/>
            <ac:spMk id="167" creationId="{3FD5BDCC-A5B7-4998-8DC7-4D6909231A15}"/>
          </ac:spMkLst>
        </pc:spChg>
        <pc:spChg chg="mod">
          <ac:chgData name="Ugo MANTEL" userId="2d5b7065-31bb-4181-a7f8-a73bf0c30211" providerId="ADAL" clId="{287A013E-B4BE-485E-AE94-C2936752CD18}" dt="2020-09-14T12:50:48.109" v="32124"/>
          <ac:spMkLst>
            <pc:docMk/>
            <pc:sldMk cId="2478432662" sldId="257"/>
            <ac:spMk id="168" creationId="{CED88030-701E-499A-A464-3C34C5228A3F}"/>
          </ac:spMkLst>
        </pc:spChg>
        <pc:spChg chg="mod">
          <ac:chgData name="Ugo MANTEL" userId="2d5b7065-31bb-4181-a7f8-a73bf0c30211" providerId="ADAL" clId="{287A013E-B4BE-485E-AE94-C2936752CD18}" dt="2020-09-14T12:50:48.108" v="32121"/>
          <ac:spMkLst>
            <pc:docMk/>
            <pc:sldMk cId="2478432662" sldId="257"/>
            <ac:spMk id="169" creationId="{2B45617E-18DB-4E4A-81BE-72286154FCC1}"/>
          </ac:spMkLst>
        </pc:spChg>
        <pc:spChg chg="del mod">
          <ac:chgData name="Ugo MANTEL" userId="2d5b7065-31bb-4181-a7f8-a73bf0c30211" providerId="ADAL" clId="{287A013E-B4BE-485E-AE94-C2936752CD18}" dt="2020-09-14T12:50:25.456" v="31046"/>
          <ac:spMkLst>
            <pc:docMk/>
            <pc:sldMk cId="2478432662" sldId="257"/>
            <ac:spMk id="170" creationId="{BDD2781E-3E86-4A91-8146-84E12F59FA0C}"/>
          </ac:spMkLst>
        </pc:spChg>
        <pc:spChg chg="mod">
          <ac:chgData name="Ugo MANTEL" userId="2d5b7065-31bb-4181-a7f8-a73bf0c30211" providerId="ADAL" clId="{287A013E-B4BE-485E-AE94-C2936752CD18}" dt="2020-09-14T12:50:48.106" v="32115"/>
          <ac:spMkLst>
            <pc:docMk/>
            <pc:sldMk cId="2478432662" sldId="257"/>
            <ac:spMk id="171" creationId="{B8734C2E-BE04-4B3A-BAA9-6C1D8581526B}"/>
          </ac:spMkLst>
        </pc:spChg>
        <pc:spChg chg="mod">
          <ac:chgData name="Ugo MANTEL" userId="2d5b7065-31bb-4181-a7f8-a73bf0c30211" providerId="ADAL" clId="{287A013E-B4BE-485E-AE94-C2936752CD18}" dt="2020-09-14T12:50:48.105" v="32110"/>
          <ac:spMkLst>
            <pc:docMk/>
            <pc:sldMk cId="2478432662" sldId="257"/>
            <ac:spMk id="172" creationId="{6A5EF5DD-3BAC-4E5E-B000-376F8E699F71}"/>
          </ac:spMkLst>
        </pc:spChg>
        <pc:spChg chg="mod">
          <ac:chgData name="Ugo MANTEL" userId="2d5b7065-31bb-4181-a7f8-a73bf0c30211" providerId="ADAL" clId="{287A013E-B4BE-485E-AE94-C2936752CD18}" dt="2020-09-14T12:50:48.107" v="32116"/>
          <ac:spMkLst>
            <pc:docMk/>
            <pc:sldMk cId="2478432662" sldId="257"/>
            <ac:spMk id="173" creationId="{84E3CE5E-D6F1-44D8-A0DB-1B49B448B06F}"/>
          </ac:spMkLst>
        </pc:spChg>
        <pc:spChg chg="del mod">
          <ac:chgData name="Ugo MANTEL" userId="2d5b7065-31bb-4181-a7f8-a73bf0c30211" providerId="ADAL" clId="{287A013E-B4BE-485E-AE94-C2936752CD18}" dt="2020-09-14T12:50:25.478" v="31066"/>
          <ac:spMkLst>
            <pc:docMk/>
            <pc:sldMk cId="2478432662" sldId="257"/>
            <ac:spMk id="174" creationId="{82CB1396-B268-4F71-B6B9-A0F841FCD34D}"/>
          </ac:spMkLst>
        </pc:spChg>
        <pc:spChg chg="mod">
          <ac:chgData name="Ugo MANTEL" userId="2d5b7065-31bb-4181-a7f8-a73bf0c30211" providerId="ADAL" clId="{287A013E-B4BE-485E-AE94-C2936752CD18}" dt="2020-09-14T12:50:48.105" v="32112"/>
          <ac:spMkLst>
            <pc:docMk/>
            <pc:sldMk cId="2478432662" sldId="257"/>
            <ac:spMk id="175" creationId="{4160291E-B783-4FDD-A513-8686062EE52E}"/>
          </ac:spMkLst>
        </pc:spChg>
        <pc:spChg chg="mod">
          <ac:chgData name="Ugo MANTEL" userId="2d5b7065-31bb-4181-a7f8-a73bf0c30211" providerId="ADAL" clId="{287A013E-B4BE-485E-AE94-C2936752CD18}" dt="2020-09-14T12:50:48.106" v="32113"/>
          <ac:spMkLst>
            <pc:docMk/>
            <pc:sldMk cId="2478432662" sldId="257"/>
            <ac:spMk id="176" creationId="{644F69EF-A319-4637-8C83-7C1750CEDA2E}"/>
          </ac:spMkLst>
        </pc:spChg>
        <pc:spChg chg="mod">
          <ac:chgData name="Ugo MANTEL" userId="2d5b7065-31bb-4181-a7f8-a73bf0c30211" providerId="ADAL" clId="{287A013E-B4BE-485E-AE94-C2936752CD18}" dt="2020-09-14T12:50:48.104" v="32108"/>
          <ac:spMkLst>
            <pc:docMk/>
            <pc:sldMk cId="2478432662" sldId="257"/>
            <ac:spMk id="177" creationId="{0D8561B6-7236-4464-86AB-9E5F521CC4EA}"/>
          </ac:spMkLst>
        </pc:spChg>
        <pc:spChg chg="del mod">
          <ac:chgData name="Ugo MANTEL" userId="2d5b7065-31bb-4181-a7f8-a73bf0c30211" providerId="ADAL" clId="{287A013E-B4BE-485E-AE94-C2936752CD18}" dt="2020-09-14T12:50:25.501" v="31086"/>
          <ac:spMkLst>
            <pc:docMk/>
            <pc:sldMk cId="2478432662" sldId="257"/>
            <ac:spMk id="178" creationId="{75E98BBA-8C56-4DE8-B7AA-3507CF7051C7}"/>
          </ac:spMkLst>
        </pc:spChg>
        <pc:graphicFrameChg chg="mod ord">
          <ac:chgData name="Ugo MANTEL" userId="2d5b7065-31bb-4181-a7f8-a73bf0c30211" providerId="ADAL" clId="{287A013E-B4BE-485E-AE94-C2936752CD18}" dt="2020-09-14T12:52:20.353" v="32134"/>
          <ac:graphicFrameMkLst>
            <pc:docMk/>
            <pc:sldMk cId="2478432662" sldId="257"/>
            <ac:graphicFrameMk id="44" creationId="{F9AE5294-21FB-443B-AC9E-47D53F90972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2:50:39.523" v="31591"/>
          <ac:graphicFrameMkLst>
            <pc:docMk/>
            <pc:sldMk cId="2478432662" sldId="257"/>
            <ac:graphicFrameMk id="60" creationId="{42EFFC7C-9BD5-465A-ACE6-6654D6FA05A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2:50:43.458" v="31821"/>
          <ac:graphicFrameMkLst>
            <pc:docMk/>
            <pc:sldMk cId="2478432662" sldId="257"/>
            <ac:graphicFrameMk id="62" creationId="{6A055142-9C3C-462B-B304-347EC99D8D1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4T12:50:48.063" v="32045"/>
          <ac:graphicFrameMkLst>
            <pc:docMk/>
            <pc:sldMk cId="2478432662" sldId="257"/>
            <ac:graphicFrameMk id="64" creationId="{52BE99AD-A14C-4607-95A8-19318B91783A}"/>
          </ac:graphicFrameMkLst>
        </pc:graphicFrameChg>
        <pc:graphicFrameChg chg="add mod ord">
          <ac:chgData name="Ugo MANTEL" userId="2d5b7065-31bb-4181-a7f8-a73bf0c30211" providerId="ADAL" clId="{287A013E-B4BE-485E-AE94-C2936752CD18}" dt="2020-09-14T12:50:48.095" v="32083"/>
          <ac:graphicFrameMkLst>
            <pc:docMk/>
            <pc:sldMk cId="2478432662" sldId="257"/>
            <ac:graphicFrameMk id="67" creationId="{E8040A38-3476-4F75-B06D-9235AF1FF87A}"/>
          </ac:graphicFrameMkLst>
        </pc:graphicFrameChg>
        <pc:graphicFrameChg chg="del">
          <ac:chgData name="Ugo MANTEL" userId="2d5b7065-31bb-4181-a7f8-a73bf0c30211" providerId="ADAL" clId="{287A013E-B4BE-485E-AE94-C2936752CD18}" dt="2020-09-14T12:50:25.915" v="31351"/>
          <ac:graphicFrameMkLst>
            <pc:docMk/>
            <pc:sldMk cId="2478432662" sldId="257"/>
            <ac:graphicFrameMk id="273" creationId="{D71DA790-DA20-4CBA-95A2-994E56BFB9D4}"/>
          </ac:graphicFrameMkLst>
        </pc:graphicFrameChg>
        <pc:cxnChg chg="mod ord">
          <ac:chgData name="Ugo MANTEL" userId="2d5b7065-31bb-4181-a7f8-a73bf0c30211" providerId="ADAL" clId="{287A013E-B4BE-485E-AE94-C2936752CD18}" dt="2020-09-14T12:50:48.091" v="32073"/>
          <ac:cxnSpMkLst>
            <pc:docMk/>
            <pc:sldMk cId="2478432662" sldId="257"/>
            <ac:cxnSpMk id="4" creationId="{AE69C7FE-B306-4E03-8A12-629329FE6434}"/>
          </ac:cxnSpMkLst>
        </pc:cxnChg>
        <pc:cxnChg chg="mod ord">
          <ac:chgData name="Ugo MANTEL" userId="2d5b7065-31bb-4181-a7f8-a73bf0c30211" providerId="ADAL" clId="{287A013E-B4BE-485E-AE94-C2936752CD18}" dt="2020-09-14T12:50:48.094" v="32081"/>
          <ac:cxnSpMkLst>
            <pc:docMk/>
            <pc:sldMk cId="2478432662" sldId="257"/>
            <ac:cxnSpMk id="5" creationId="{31267229-A759-41B5-B57C-85276F403621}"/>
          </ac:cxnSpMkLst>
        </pc:cxnChg>
        <pc:cxnChg chg="mod ord">
          <ac:chgData name="Ugo MANTEL" userId="2d5b7065-31bb-4181-a7f8-a73bf0c30211" providerId="ADAL" clId="{287A013E-B4BE-485E-AE94-C2936752CD18}" dt="2020-09-14T12:50:48.090" v="32069"/>
          <ac:cxnSpMkLst>
            <pc:docMk/>
            <pc:sldMk cId="2478432662" sldId="257"/>
            <ac:cxnSpMk id="6" creationId="{8053F143-8075-4B34-B8B8-C33571F2C88A}"/>
          </ac:cxnSpMkLst>
        </pc:cxnChg>
        <pc:cxnChg chg="mod ord">
          <ac:chgData name="Ugo MANTEL" userId="2d5b7065-31bb-4181-a7f8-a73bf0c30211" providerId="ADAL" clId="{287A013E-B4BE-485E-AE94-C2936752CD18}" dt="2020-09-14T12:50:48.084" v="32059"/>
          <ac:cxnSpMkLst>
            <pc:docMk/>
            <pc:sldMk cId="2478432662" sldId="257"/>
            <ac:cxnSpMk id="7" creationId="{8CC86932-1395-4059-86B8-87E19AB49B34}"/>
          </ac:cxnSpMkLst>
        </pc:cxnChg>
        <pc:cxnChg chg="mod ord">
          <ac:chgData name="Ugo MANTEL" userId="2d5b7065-31bb-4181-a7f8-a73bf0c30211" providerId="ADAL" clId="{287A013E-B4BE-485E-AE94-C2936752CD18}" dt="2020-09-14T12:50:48.092" v="32075"/>
          <ac:cxnSpMkLst>
            <pc:docMk/>
            <pc:sldMk cId="2478432662" sldId="257"/>
            <ac:cxnSpMk id="8" creationId="{62064129-2E28-40C1-A365-3EAF8D692731}"/>
          </ac:cxnSpMkLst>
        </pc:cxnChg>
        <pc:cxnChg chg="mod ord">
          <ac:chgData name="Ugo MANTEL" userId="2d5b7065-31bb-4181-a7f8-a73bf0c30211" providerId="ADAL" clId="{287A013E-B4BE-485E-AE94-C2936752CD18}" dt="2020-09-14T12:50:48.087" v="32063"/>
          <ac:cxnSpMkLst>
            <pc:docMk/>
            <pc:sldMk cId="2478432662" sldId="257"/>
            <ac:cxnSpMk id="9" creationId="{41BC0B30-ED35-4001-A1D6-139AF8FB2FD8}"/>
          </ac:cxnSpMkLst>
        </pc:cxnChg>
        <pc:cxnChg chg="mod ord">
          <ac:chgData name="Ugo MANTEL" userId="2d5b7065-31bb-4181-a7f8-a73bf0c30211" providerId="ADAL" clId="{287A013E-B4BE-485E-AE94-C2936752CD18}" dt="2020-09-14T12:50:48.094" v="32079"/>
          <ac:cxnSpMkLst>
            <pc:docMk/>
            <pc:sldMk cId="2478432662" sldId="257"/>
            <ac:cxnSpMk id="10" creationId="{921D8B75-C883-4944-B136-358BD997DDA3}"/>
          </ac:cxnSpMkLst>
        </pc:cxnChg>
        <pc:cxnChg chg="mod ord">
          <ac:chgData name="Ugo MANTEL" userId="2d5b7065-31bb-4181-a7f8-a73bf0c30211" providerId="ADAL" clId="{287A013E-B4BE-485E-AE94-C2936752CD18}" dt="2020-09-14T12:50:48.088" v="32065"/>
          <ac:cxnSpMkLst>
            <pc:docMk/>
            <pc:sldMk cId="2478432662" sldId="257"/>
            <ac:cxnSpMk id="11" creationId="{985DF3CB-9384-404E-AB5A-ABDC96776C30}"/>
          </ac:cxnSpMkLst>
        </pc:cxnChg>
        <pc:cxnChg chg="mod ord">
          <ac:chgData name="Ugo MANTEL" userId="2d5b7065-31bb-4181-a7f8-a73bf0c30211" providerId="ADAL" clId="{287A013E-B4BE-485E-AE94-C2936752CD18}" dt="2020-09-14T12:50:48.089" v="32067"/>
          <ac:cxnSpMkLst>
            <pc:docMk/>
            <pc:sldMk cId="2478432662" sldId="257"/>
            <ac:cxnSpMk id="12" creationId="{660FA607-6CB1-4897-98EF-EBA7EAD6C283}"/>
          </ac:cxnSpMkLst>
        </pc:cxnChg>
        <pc:cxnChg chg="mod ord">
          <ac:chgData name="Ugo MANTEL" userId="2d5b7065-31bb-4181-a7f8-a73bf0c30211" providerId="ADAL" clId="{287A013E-B4BE-485E-AE94-C2936752CD18}" dt="2020-09-14T12:50:48.085" v="32061"/>
          <ac:cxnSpMkLst>
            <pc:docMk/>
            <pc:sldMk cId="2478432662" sldId="257"/>
            <ac:cxnSpMk id="13" creationId="{7E64383D-B260-4ED8-A534-94181DD7FFF2}"/>
          </ac:cxnSpMkLst>
        </pc:cxnChg>
        <pc:cxnChg chg="mod ord">
          <ac:chgData name="Ugo MANTEL" userId="2d5b7065-31bb-4181-a7f8-a73bf0c30211" providerId="ADAL" clId="{287A013E-B4BE-485E-AE94-C2936752CD18}" dt="2020-09-14T12:50:48.091" v="32071"/>
          <ac:cxnSpMkLst>
            <pc:docMk/>
            <pc:sldMk cId="2478432662" sldId="257"/>
            <ac:cxnSpMk id="14" creationId="{DB88B253-97A1-48F6-AD5F-D88ADB388518}"/>
          </ac:cxnSpMkLst>
        </pc:cxnChg>
        <pc:cxnChg chg="mod ord">
          <ac:chgData name="Ugo MANTEL" userId="2d5b7065-31bb-4181-a7f8-a73bf0c30211" providerId="ADAL" clId="{287A013E-B4BE-485E-AE94-C2936752CD18}" dt="2020-09-14T12:50:48.093" v="32077"/>
          <ac:cxnSpMkLst>
            <pc:docMk/>
            <pc:sldMk cId="2478432662" sldId="257"/>
            <ac:cxnSpMk id="15" creationId="{C458EA12-4C08-42D5-85F6-D0BBEC493261}"/>
          </ac:cxnSpMkLst>
        </pc:cxnChg>
        <pc:cxnChg chg="add del mod ord">
          <ac:chgData name="Ugo MANTEL" userId="2d5b7065-31bb-4181-a7f8-a73bf0c30211" providerId="ADAL" clId="{287A013E-B4BE-485E-AE94-C2936752CD18}" dt="2020-09-14T12:50:39.432" v="31467"/>
          <ac:cxnSpMkLst>
            <pc:docMk/>
            <pc:sldMk cId="2478432662" sldId="257"/>
            <ac:cxnSpMk id="16" creationId="{03D83559-F62E-4AEF-8C6A-1668F85AD1A4}"/>
          </ac:cxnSpMkLst>
        </pc:cxnChg>
        <pc:cxnChg chg="add del mod ord">
          <ac:chgData name="Ugo MANTEL" userId="2d5b7065-31bb-4181-a7f8-a73bf0c30211" providerId="ADAL" clId="{287A013E-B4BE-485E-AE94-C2936752CD18}" dt="2020-09-14T12:50:43.345" v="31701"/>
          <ac:cxnSpMkLst>
            <pc:docMk/>
            <pc:sldMk cId="2478432662" sldId="257"/>
            <ac:cxnSpMk id="17" creationId="{E6DD71AA-B612-41ED-9620-F4D60DCBC187}"/>
          </ac:cxnSpMkLst>
        </pc:cxnChg>
        <pc:cxnChg chg="add del mod ord">
          <ac:chgData name="Ugo MANTEL" userId="2d5b7065-31bb-4181-a7f8-a73bf0c30211" providerId="ADAL" clId="{287A013E-B4BE-485E-AE94-C2936752CD18}" dt="2020-09-14T12:50:47.985" v="31929"/>
          <ac:cxnSpMkLst>
            <pc:docMk/>
            <pc:sldMk cId="2478432662" sldId="257"/>
            <ac:cxnSpMk id="18" creationId="{5DAA4CE2-EC8B-47B9-964E-7B1481C743FB}"/>
          </ac:cxnSpMkLst>
        </pc:cxnChg>
        <pc:cxnChg chg="mod ord">
          <ac:chgData name="Ugo MANTEL" userId="2d5b7065-31bb-4181-a7f8-a73bf0c30211" providerId="ADAL" clId="{287A013E-B4BE-485E-AE94-C2936752CD18}" dt="2020-09-14T12:50:48.100" v="32097"/>
          <ac:cxnSpMkLst>
            <pc:docMk/>
            <pc:sldMk cId="2478432662" sldId="257"/>
            <ac:cxnSpMk id="27" creationId="{AFF0B8F1-CA42-46B3-A1F6-72079A7B0D28}"/>
          </ac:cxnSpMkLst>
        </pc:cxnChg>
        <pc:cxnChg chg="mod ord">
          <ac:chgData name="Ugo MANTEL" userId="2d5b7065-31bb-4181-a7f8-a73bf0c30211" providerId="ADAL" clId="{287A013E-B4BE-485E-AE94-C2936752CD18}" dt="2020-09-14T12:50:48.096" v="32085"/>
          <ac:cxnSpMkLst>
            <pc:docMk/>
            <pc:sldMk cId="2478432662" sldId="257"/>
            <ac:cxnSpMk id="28" creationId="{D4A70354-3411-4330-B0CB-7162769D8411}"/>
          </ac:cxnSpMkLst>
        </pc:cxnChg>
        <pc:cxnChg chg="mod ord">
          <ac:chgData name="Ugo MANTEL" userId="2d5b7065-31bb-4181-a7f8-a73bf0c30211" providerId="ADAL" clId="{287A013E-B4BE-485E-AE94-C2936752CD18}" dt="2020-09-14T12:50:48.100" v="32095"/>
          <ac:cxnSpMkLst>
            <pc:docMk/>
            <pc:sldMk cId="2478432662" sldId="257"/>
            <ac:cxnSpMk id="48" creationId="{7AEE2A3D-8E34-47ED-A744-162D7F6FF665}"/>
          </ac:cxnSpMkLst>
        </pc:cxnChg>
        <pc:cxnChg chg="mod ord">
          <ac:chgData name="Ugo MANTEL" userId="2d5b7065-31bb-4181-a7f8-a73bf0c30211" providerId="ADAL" clId="{287A013E-B4BE-485E-AE94-C2936752CD18}" dt="2020-09-14T12:50:48.097" v="32087"/>
          <ac:cxnSpMkLst>
            <pc:docMk/>
            <pc:sldMk cId="2478432662" sldId="257"/>
            <ac:cxnSpMk id="49" creationId="{62D9085D-E074-4287-9CB1-C0A337A374E8}"/>
          </ac:cxnSpMkLst>
        </pc:cxnChg>
        <pc:cxnChg chg="mod ord">
          <ac:chgData name="Ugo MANTEL" userId="2d5b7065-31bb-4181-a7f8-a73bf0c30211" providerId="ADAL" clId="{287A013E-B4BE-485E-AE94-C2936752CD18}" dt="2020-09-14T12:50:48.098" v="32091"/>
          <ac:cxnSpMkLst>
            <pc:docMk/>
            <pc:sldMk cId="2478432662" sldId="257"/>
            <ac:cxnSpMk id="50" creationId="{96AD1A1B-4041-4EFF-AF08-BEAC86A7C476}"/>
          </ac:cxnSpMkLst>
        </pc:cxnChg>
        <pc:cxnChg chg="mod ord">
          <ac:chgData name="Ugo MANTEL" userId="2d5b7065-31bb-4181-a7f8-a73bf0c30211" providerId="ADAL" clId="{287A013E-B4BE-485E-AE94-C2936752CD18}" dt="2020-09-14T12:50:48.101" v="32099"/>
          <ac:cxnSpMkLst>
            <pc:docMk/>
            <pc:sldMk cId="2478432662" sldId="257"/>
            <ac:cxnSpMk id="55" creationId="{DC392ED1-FF98-4357-80E3-B092B35EC892}"/>
          </ac:cxnSpMkLst>
        </pc:cxnChg>
        <pc:cxnChg chg="mod ord">
          <ac:chgData name="Ugo MANTEL" userId="2d5b7065-31bb-4181-a7f8-a73bf0c30211" providerId="ADAL" clId="{287A013E-B4BE-485E-AE94-C2936752CD18}" dt="2020-09-14T12:50:48.102" v="32101"/>
          <ac:cxnSpMkLst>
            <pc:docMk/>
            <pc:sldMk cId="2478432662" sldId="257"/>
            <ac:cxnSpMk id="65" creationId="{25DAF424-2142-44D7-929C-3F9158F27E56}"/>
          </ac:cxnSpMkLst>
        </pc:cxnChg>
        <pc:cxnChg chg="mod ord">
          <ac:chgData name="Ugo MANTEL" userId="2d5b7065-31bb-4181-a7f8-a73bf0c30211" providerId="ADAL" clId="{287A013E-B4BE-485E-AE94-C2936752CD18}" dt="2020-09-14T12:50:48.097" v="32089"/>
          <ac:cxnSpMkLst>
            <pc:docMk/>
            <pc:sldMk cId="2478432662" sldId="257"/>
            <ac:cxnSpMk id="68" creationId="{EC9B605C-27F3-4ECE-9C8E-8D5F8CB12AAB}"/>
          </ac:cxnSpMkLst>
        </pc:cxnChg>
        <pc:cxnChg chg="mod ord">
          <ac:chgData name="Ugo MANTEL" userId="2d5b7065-31bb-4181-a7f8-a73bf0c30211" providerId="ADAL" clId="{287A013E-B4BE-485E-AE94-C2936752CD18}" dt="2020-09-14T12:50:48.099" v="32093"/>
          <ac:cxnSpMkLst>
            <pc:docMk/>
            <pc:sldMk cId="2478432662" sldId="257"/>
            <ac:cxnSpMk id="186" creationId="{D50359F6-228C-411C-A49B-4FA415B15229}"/>
          </ac:cxnSpMkLst>
        </pc:cxnChg>
      </pc:sldChg>
      <pc:sldChg chg="addSp delSp modSp add mod">
        <pc:chgData name="Ugo MANTEL" userId="2d5b7065-31bb-4181-a7f8-a73bf0c30211" providerId="ADAL" clId="{287A013E-B4BE-485E-AE94-C2936752CD18}" dt="2020-10-12T10:03:51.938" v="114779"/>
        <pc:sldMkLst>
          <pc:docMk/>
          <pc:sldMk cId="1573643847" sldId="258"/>
        </pc:sldMkLst>
        <pc:spChg chg="mod">
          <ac:chgData name="Ugo MANTEL" userId="2d5b7065-31bb-4181-a7f8-a73bf0c30211" providerId="ADAL" clId="{287A013E-B4BE-485E-AE94-C2936752CD18}" dt="2020-10-12T10:03:51.909" v="114725"/>
          <ac:spMkLst>
            <pc:docMk/>
            <pc:sldMk cId="1573643847" sldId="258"/>
            <ac:spMk id="2" creationId="{5FB7E987-01B8-492B-B78E-0EA088CC8C8A}"/>
          </ac:spMkLst>
        </pc:spChg>
        <pc:spChg chg="mod ord">
          <ac:chgData name="Ugo MANTEL" userId="2d5b7065-31bb-4181-a7f8-a73bf0c30211" providerId="ADAL" clId="{287A013E-B4BE-485E-AE94-C2936752CD18}" dt="2020-10-12T10:03:51.909" v="114727"/>
          <ac:spMkLst>
            <pc:docMk/>
            <pc:sldMk cId="1573643847" sldId="258"/>
            <ac:spMk id="3" creationId="{B6CB9626-71CD-4BA3-B2F8-3277490C0DFB}"/>
          </ac:spMkLst>
        </pc:spChg>
        <pc:spChg chg="add del mod">
          <ac:chgData name="Ugo MANTEL" userId="2d5b7065-31bb-4181-a7f8-a73bf0c30211" providerId="ADAL" clId="{287A013E-B4BE-485E-AE94-C2936752CD18}" dt="2020-09-23T12:45:58.435" v="74456"/>
          <ac:spMkLst>
            <pc:docMk/>
            <pc:sldMk cId="1573643847" sldId="258"/>
            <ac:spMk id="5" creationId="{7AE7B155-AB92-4712-B67D-8F01CB6DA521}"/>
          </ac:spMkLst>
        </pc:spChg>
        <pc:spChg chg="add del mod">
          <ac:chgData name="Ugo MANTEL" userId="2d5b7065-31bb-4181-a7f8-a73bf0c30211" providerId="ADAL" clId="{287A013E-B4BE-485E-AE94-C2936752CD18}" dt="2020-09-23T12:45:58.444" v="74479"/>
          <ac:spMkLst>
            <pc:docMk/>
            <pc:sldMk cId="1573643847" sldId="258"/>
            <ac:spMk id="12" creationId="{288E21F1-5E5E-4818-9F7D-D02384F14E55}"/>
          </ac:spMkLst>
        </pc:spChg>
        <pc:spChg chg="del mod">
          <ac:chgData name="Ugo MANTEL" userId="2d5b7065-31bb-4181-a7f8-a73bf0c30211" providerId="ADAL" clId="{287A013E-B4BE-485E-AE94-C2936752CD18}" dt="2020-09-16T09:37:44.464" v="33957"/>
          <ac:spMkLst>
            <pc:docMk/>
            <pc:sldMk cId="1573643847" sldId="258"/>
            <ac:spMk id="29" creationId="{08514D1F-E741-4343-B2BB-920A0046EF84}"/>
          </ac:spMkLst>
        </pc:spChg>
        <pc:spChg chg="del mod">
          <ac:chgData name="Ugo MANTEL" userId="2d5b7065-31bb-4181-a7f8-a73bf0c30211" providerId="ADAL" clId="{287A013E-B4BE-485E-AE94-C2936752CD18}" dt="2020-09-16T09:37:44.481" v="33967"/>
          <ac:spMkLst>
            <pc:docMk/>
            <pc:sldMk cId="1573643847" sldId="258"/>
            <ac:spMk id="30" creationId="{61CB25F0-5394-4BD8-92E6-16389BDD1EA6}"/>
          </ac:spMkLst>
        </pc:spChg>
        <pc:spChg chg="mod">
          <ac:chgData name="Ugo MANTEL" userId="2d5b7065-31bb-4181-a7f8-a73bf0c30211" providerId="ADAL" clId="{287A013E-B4BE-485E-AE94-C2936752CD18}" dt="2020-10-12T10:03:51.927" v="114765"/>
          <ac:spMkLst>
            <pc:docMk/>
            <pc:sldMk cId="1573643847" sldId="258"/>
            <ac:spMk id="31" creationId="{2EFB888C-24EA-4799-91EC-4D24BB2A552B}"/>
          </ac:spMkLst>
        </pc:spChg>
        <pc:spChg chg="mod">
          <ac:chgData name="Ugo MANTEL" userId="2d5b7065-31bb-4181-a7f8-a73bf0c30211" providerId="ADAL" clId="{287A013E-B4BE-485E-AE94-C2936752CD18}" dt="2020-10-12T10:03:51.926" v="114763"/>
          <ac:spMkLst>
            <pc:docMk/>
            <pc:sldMk cId="1573643847" sldId="258"/>
            <ac:spMk id="32" creationId="{4DE26C2D-BCED-4E76-91EF-6BA802819216}"/>
          </ac:spMkLst>
        </pc:spChg>
        <pc:spChg chg="mod">
          <ac:chgData name="Ugo MANTEL" userId="2d5b7065-31bb-4181-a7f8-a73bf0c30211" providerId="ADAL" clId="{287A013E-B4BE-485E-AE94-C2936752CD18}" dt="2020-10-12T10:03:51.927" v="114764"/>
          <ac:spMkLst>
            <pc:docMk/>
            <pc:sldMk cId="1573643847" sldId="258"/>
            <ac:spMk id="33" creationId="{FB71B4E2-CD7D-4ED9-B59C-1DAEEF4D752B}"/>
          </ac:spMkLst>
        </pc:spChg>
        <pc:spChg chg="mod">
          <ac:chgData name="Ugo MANTEL" userId="2d5b7065-31bb-4181-a7f8-a73bf0c30211" providerId="ADAL" clId="{287A013E-B4BE-485E-AE94-C2936752CD18}" dt="2020-10-12T10:03:51.928" v="114769"/>
          <ac:spMkLst>
            <pc:docMk/>
            <pc:sldMk cId="1573643847" sldId="258"/>
            <ac:spMk id="34" creationId="{FED6F1E6-6643-4D4B-9413-16622D2E3CE2}"/>
          </ac:spMkLst>
        </pc:spChg>
        <pc:spChg chg="mod">
          <ac:chgData name="Ugo MANTEL" userId="2d5b7065-31bb-4181-a7f8-a73bf0c30211" providerId="ADAL" clId="{287A013E-B4BE-485E-AE94-C2936752CD18}" dt="2020-10-12T10:03:51.927" v="114766"/>
          <ac:spMkLst>
            <pc:docMk/>
            <pc:sldMk cId="1573643847" sldId="258"/>
            <ac:spMk id="35" creationId="{00714E26-EC36-4A85-960D-3EDA17D5A276}"/>
          </ac:spMkLst>
        </pc:spChg>
        <pc:spChg chg="mod">
          <ac:chgData name="Ugo MANTEL" userId="2d5b7065-31bb-4181-a7f8-a73bf0c30211" providerId="ADAL" clId="{287A013E-B4BE-485E-AE94-C2936752CD18}" dt="2020-10-12T10:03:51.928" v="114771"/>
          <ac:spMkLst>
            <pc:docMk/>
            <pc:sldMk cId="1573643847" sldId="258"/>
            <ac:spMk id="36" creationId="{33094E6A-D62C-4FB5-AA4B-9A8F898CA1E7}"/>
          </ac:spMkLst>
        </pc:spChg>
        <pc:spChg chg="mod">
          <ac:chgData name="Ugo MANTEL" userId="2d5b7065-31bb-4181-a7f8-a73bf0c30211" providerId="ADAL" clId="{287A013E-B4BE-485E-AE94-C2936752CD18}" dt="2020-10-12T10:03:51.926" v="114761"/>
          <ac:spMkLst>
            <pc:docMk/>
            <pc:sldMk cId="1573643847" sldId="258"/>
            <ac:spMk id="37" creationId="{2120A82C-648E-40A2-A75A-D6C8537E9C96}"/>
          </ac:spMkLst>
        </pc:spChg>
        <pc:spChg chg="mod">
          <ac:chgData name="Ugo MANTEL" userId="2d5b7065-31bb-4181-a7f8-a73bf0c30211" providerId="ADAL" clId="{287A013E-B4BE-485E-AE94-C2936752CD18}" dt="2020-10-12T10:03:51.930" v="114775"/>
          <ac:spMkLst>
            <pc:docMk/>
            <pc:sldMk cId="1573643847" sldId="258"/>
            <ac:spMk id="38" creationId="{97449C5F-EFB9-4A77-BB80-08ACD8569C4D}"/>
          </ac:spMkLst>
        </pc:spChg>
        <pc:spChg chg="mod">
          <ac:chgData name="Ugo MANTEL" userId="2d5b7065-31bb-4181-a7f8-a73bf0c30211" providerId="ADAL" clId="{287A013E-B4BE-485E-AE94-C2936752CD18}" dt="2020-10-12T10:03:51.927" v="114767"/>
          <ac:spMkLst>
            <pc:docMk/>
            <pc:sldMk cId="1573643847" sldId="258"/>
            <ac:spMk id="39" creationId="{85D2B09C-7410-4FEA-B6D7-C4A5A091ADA8}"/>
          </ac:spMkLst>
        </pc:spChg>
        <pc:spChg chg="del mod">
          <ac:chgData name="Ugo MANTEL" userId="2d5b7065-31bb-4181-a7f8-a73bf0c30211" providerId="ADAL" clId="{287A013E-B4BE-485E-AE94-C2936752CD18}" dt="2020-09-16T09:37:44.474" v="33963"/>
          <ac:spMkLst>
            <pc:docMk/>
            <pc:sldMk cId="1573643847" sldId="258"/>
            <ac:spMk id="40" creationId="{39A82838-48B4-4A6D-BE00-031201B45A51}"/>
          </ac:spMkLst>
        </pc:spChg>
        <pc:spChg chg="add del mod">
          <ac:chgData name="Ugo MANTEL" userId="2d5b7065-31bb-4181-a7f8-a73bf0c30211" providerId="ADAL" clId="{287A013E-B4BE-485E-AE94-C2936752CD18}" dt="2020-09-23T12:45:58.416" v="74443"/>
          <ac:spMkLst>
            <pc:docMk/>
            <pc:sldMk cId="1573643847" sldId="258"/>
            <ac:spMk id="40" creationId="{47DD3352-9A81-4379-ABB5-2B7AB965ACCF}"/>
          </ac:spMkLst>
        </pc:spChg>
        <pc:spChg chg="add del mod">
          <ac:chgData name="Ugo MANTEL" userId="2d5b7065-31bb-4181-a7f8-a73bf0c30211" providerId="ADAL" clId="{287A013E-B4BE-485E-AE94-C2936752CD18}" dt="2020-09-23T12:45:59.433" v="74615"/>
          <ac:spMkLst>
            <pc:docMk/>
            <pc:sldMk cId="1573643847" sldId="258"/>
            <ac:spMk id="41" creationId="{7EB7BF43-F470-421F-A860-E246E594CC68}"/>
          </ac:spMkLst>
        </pc:spChg>
        <pc:spChg chg="del mod">
          <ac:chgData name="Ugo MANTEL" userId="2d5b7065-31bb-4181-a7f8-a73bf0c30211" providerId="ADAL" clId="{287A013E-B4BE-485E-AE94-C2936752CD18}" dt="2020-09-16T09:37:44.469" v="33960"/>
          <ac:spMkLst>
            <pc:docMk/>
            <pc:sldMk cId="1573643847" sldId="258"/>
            <ac:spMk id="41" creationId="{C152E67D-402B-4387-8DB5-DF4CAE9F853F}"/>
          </ac:spMkLst>
        </pc:spChg>
        <pc:spChg chg="mod ord">
          <ac:chgData name="Ugo MANTEL" userId="2d5b7065-31bb-4181-a7f8-a73bf0c30211" providerId="ADAL" clId="{287A013E-B4BE-485E-AE94-C2936752CD18}" dt="2020-10-12T10:03:51.908" v="114724"/>
          <ac:spMkLst>
            <pc:docMk/>
            <pc:sldMk cId="1573643847" sldId="258"/>
            <ac:spMk id="42" creationId="{1CDC1D26-5559-48E5-A3EA-95A60632EA3F}"/>
          </ac:spMkLst>
        </pc:spChg>
        <pc:spChg chg="add mod">
          <ac:chgData name="Ugo MANTEL" userId="2d5b7065-31bb-4181-a7f8-a73bf0c30211" providerId="ADAL" clId="{287A013E-B4BE-485E-AE94-C2936752CD18}" dt="2020-10-12T10:03:51.929" v="114774"/>
          <ac:spMkLst>
            <pc:docMk/>
            <pc:sldMk cId="1573643847" sldId="258"/>
            <ac:spMk id="46" creationId="{D7A4E1A1-F8E4-4750-9AF5-5058496C409A}"/>
          </ac:spMkLst>
        </pc:spChg>
        <pc:spChg chg="add mod">
          <ac:chgData name="Ugo MANTEL" userId="2d5b7065-31bb-4181-a7f8-a73bf0c30211" providerId="ADAL" clId="{287A013E-B4BE-485E-AE94-C2936752CD18}" dt="2020-10-12T10:03:51.929" v="114773"/>
          <ac:spMkLst>
            <pc:docMk/>
            <pc:sldMk cId="1573643847" sldId="258"/>
            <ac:spMk id="51" creationId="{D6D4E251-4A0D-489C-BDDD-8B1A42567591}"/>
          </ac:spMkLst>
        </pc:spChg>
        <pc:spChg chg="add del mod">
          <ac:chgData name="Ugo MANTEL" userId="2d5b7065-31bb-4181-a7f8-a73bf0c30211" providerId="ADAL" clId="{287A013E-B4BE-485E-AE94-C2936752CD18}" dt="2020-09-16T09:37:36.189" v="33513"/>
          <ac:spMkLst>
            <pc:docMk/>
            <pc:sldMk cId="1573643847" sldId="258"/>
            <ac:spMk id="56" creationId="{BEC72A3B-4F3C-45BA-9F20-F576885C7359}"/>
          </ac:spMkLst>
        </pc:spChg>
        <pc:spChg chg="add del mod">
          <ac:chgData name="Ugo MANTEL" userId="2d5b7065-31bb-4181-a7f8-a73bf0c30211" providerId="ADAL" clId="{287A013E-B4BE-485E-AE94-C2936752CD18}" dt="2020-09-16T09:37:40.971" v="33747"/>
          <ac:spMkLst>
            <pc:docMk/>
            <pc:sldMk cId="1573643847" sldId="258"/>
            <ac:spMk id="58" creationId="{914FEFE6-4381-4A02-B80B-D0353C2632F5}"/>
          </ac:spMkLst>
        </pc:spChg>
        <pc:spChg chg="add del mod">
          <ac:chgData name="Ugo MANTEL" userId="2d5b7065-31bb-4181-a7f8-a73bf0c30211" providerId="ADAL" clId="{287A013E-B4BE-485E-AE94-C2936752CD18}" dt="2020-09-23T12:45:54.489" v="74133"/>
          <ac:spMkLst>
            <pc:docMk/>
            <pc:sldMk cId="1573643847" sldId="258"/>
            <ac:spMk id="60" creationId="{29EE8F37-6ED7-453C-80F9-1DBD3A861824}"/>
          </ac:spMkLst>
        </pc:spChg>
        <pc:spChg chg="add del mod">
          <ac:chgData name="Ugo MANTEL" userId="2d5b7065-31bb-4181-a7f8-a73bf0c30211" providerId="ADAL" clId="{287A013E-B4BE-485E-AE94-C2936752CD18}" dt="2020-09-23T12:45:54.509" v="74153"/>
          <ac:spMkLst>
            <pc:docMk/>
            <pc:sldMk cId="1573643847" sldId="258"/>
            <ac:spMk id="62" creationId="{606CF797-D4AC-4AA1-85D6-546B6340DEBD}"/>
          </ac:spMkLst>
        </pc:spChg>
        <pc:spChg chg="mod">
          <ac:chgData name="Ugo MANTEL" userId="2d5b7065-31bb-4181-a7f8-a73bf0c30211" providerId="ADAL" clId="{287A013E-B4BE-485E-AE94-C2936752CD18}" dt="2020-10-12T10:03:51.929" v="114772"/>
          <ac:spMkLst>
            <pc:docMk/>
            <pc:sldMk cId="1573643847" sldId="258"/>
            <ac:spMk id="165" creationId="{5C34D846-5CB4-44D6-A90D-D126F6A15053}"/>
          </ac:spMkLst>
        </pc:spChg>
        <pc:spChg chg="mod">
          <ac:chgData name="Ugo MANTEL" userId="2d5b7065-31bb-4181-a7f8-a73bf0c30211" providerId="ADAL" clId="{287A013E-B4BE-485E-AE94-C2936752CD18}" dt="2020-10-12T10:03:51.925" v="114759"/>
          <ac:spMkLst>
            <pc:docMk/>
            <pc:sldMk cId="1573643847" sldId="258"/>
            <ac:spMk id="167" creationId="{3FD5BDCC-A5B7-4998-8DC7-4D6909231A15}"/>
          </ac:spMkLst>
        </pc:spChg>
        <pc:spChg chg="mod">
          <ac:chgData name="Ugo MANTEL" userId="2d5b7065-31bb-4181-a7f8-a73bf0c30211" providerId="ADAL" clId="{287A013E-B4BE-485E-AE94-C2936752CD18}" dt="2020-10-12T10:03:51.928" v="114770"/>
          <ac:spMkLst>
            <pc:docMk/>
            <pc:sldMk cId="1573643847" sldId="258"/>
            <ac:spMk id="168" creationId="{CED88030-701E-499A-A464-3C34C5228A3F}"/>
          </ac:spMkLst>
        </pc:spChg>
        <pc:spChg chg="mod">
          <ac:chgData name="Ugo MANTEL" userId="2d5b7065-31bb-4181-a7f8-a73bf0c30211" providerId="ADAL" clId="{287A013E-B4BE-485E-AE94-C2936752CD18}" dt="2020-10-12T10:03:51.928" v="114768"/>
          <ac:spMkLst>
            <pc:docMk/>
            <pc:sldMk cId="1573643847" sldId="258"/>
            <ac:spMk id="169" creationId="{2B45617E-18DB-4E4A-81BE-72286154FCC1}"/>
          </ac:spMkLst>
        </pc:spChg>
        <pc:spChg chg="del mod">
          <ac:chgData name="Ugo MANTEL" userId="2d5b7065-31bb-4181-a7f8-a73bf0c30211" providerId="ADAL" clId="{287A013E-B4BE-485E-AE94-C2936752CD18}" dt="2020-09-16T09:37:33.930" v="33202"/>
          <ac:spMkLst>
            <pc:docMk/>
            <pc:sldMk cId="1573643847" sldId="258"/>
            <ac:spMk id="170" creationId="{BDD2781E-3E86-4A91-8146-84E12F59FA0C}"/>
          </ac:spMkLst>
        </pc:spChg>
        <pc:spChg chg="mod">
          <ac:chgData name="Ugo MANTEL" userId="2d5b7065-31bb-4181-a7f8-a73bf0c30211" providerId="ADAL" clId="{287A013E-B4BE-485E-AE94-C2936752CD18}" dt="2020-10-12T10:03:51.925" v="114760"/>
          <ac:spMkLst>
            <pc:docMk/>
            <pc:sldMk cId="1573643847" sldId="258"/>
            <ac:spMk id="171" creationId="{B8734C2E-BE04-4B3A-BAA9-6C1D8581526B}"/>
          </ac:spMkLst>
        </pc:spChg>
        <pc:spChg chg="mod">
          <ac:chgData name="Ugo MANTEL" userId="2d5b7065-31bb-4181-a7f8-a73bf0c30211" providerId="ADAL" clId="{287A013E-B4BE-485E-AE94-C2936752CD18}" dt="2020-10-12T10:03:51.926" v="114762"/>
          <ac:spMkLst>
            <pc:docMk/>
            <pc:sldMk cId="1573643847" sldId="258"/>
            <ac:spMk id="172" creationId="{6A5EF5DD-3BAC-4E5E-B000-376F8E699F71}"/>
          </ac:spMkLst>
        </pc:spChg>
        <pc:spChg chg="mod">
          <ac:chgData name="Ugo MANTEL" userId="2d5b7065-31bb-4181-a7f8-a73bf0c30211" providerId="ADAL" clId="{287A013E-B4BE-485E-AE94-C2936752CD18}" dt="2020-10-12T10:03:51.925" v="114758"/>
          <ac:spMkLst>
            <pc:docMk/>
            <pc:sldMk cId="1573643847" sldId="258"/>
            <ac:spMk id="173" creationId="{84E3CE5E-D6F1-44D8-A0DB-1B49B448B06F}"/>
          </ac:spMkLst>
        </pc:spChg>
        <pc:spChg chg="del mod">
          <ac:chgData name="Ugo MANTEL" userId="2d5b7065-31bb-4181-a7f8-a73bf0c30211" providerId="ADAL" clId="{287A013E-B4BE-485E-AE94-C2936752CD18}" dt="2020-09-16T09:37:33.991" v="33222"/>
          <ac:spMkLst>
            <pc:docMk/>
            <pc:sldMk cId="1573643847" sldId="258"/>
            <ac:spMk id="174" creationId="{82CB1396-B268-4F71-B6B9-A0F841FCD34D}"/>
          </ac:spMkLst>
        </pc:spChg>
        <pc:spChg chg="del mod">
          <ac:chgData name="Ugo MANTEL" userId="2d5b7065-31bb-4181-a7f8-a73bf0c30211" providerId="ADAL" clId="{287A013E-B4BE-485E-AE94-C2936752CD18}" dt="2020-09-16T09:37:44.451" v="33946"/>
          <ac:spMkLst>
            <pc:docMk/>
            <pc:sldMk cId="1573643847" sldId="258"/>
            <ac:spMk id="175" creationId="{4160291E-B783-4FDD-A513-8686062EE52E}"/>
          </ac:spMkLst>
        </pc:spChg>
        <pc:spChg chg="del mod">
          <ac:chgData name="Ugo MANTEL" userId="2d5b7065-31bb-4181-a7f8-a73bf0c30211" providerId="ADAL" clId="{287A013E-B4BE-485E-AE94-C2936752CD18}" dt="2020-09-16T09:37:44.455" v="33949"/>
          <ac:spMkLst>
            <pc:docMk/>
            <pc:sldMk cId="1573643847" sldId="258"/>
            <ac:spMk id="176" creationId="{644F69EF-A319-4637-8C83-7C1750CEDA2E}"/>
          </ac:spMkLst>
        </pc:spChg>
        <pc:spChg chg="del mod">
          <ac:chgData name="Ugo MANTEL" userId="2d5b7065-31bb-4181-a7f8-a73bf0c30211" providerId="ADAL" clId="{287A013E-B4BE-485E-AE94-C2936752CD18}" dt="2020-09-16T09:37:44.458" v="33952"/>
          <ac:spMkLst>
            <pc:docMk/>
            <pc:sldMk cId="1573643847" sldId="258"/>
            <ac:spMk id="177" creationId="{0D8561B6-7236-4464-86AB-9E5F521CC4EA}"/>
          </ac:spMkLst>
        </pc:spChg>
        <pc:spChg chg="del mod">
          <ac:chgData name="Ugo MANTEL" userId="2d5b7065-31bb-4181-a7f8-a73bf0c30211" providerId="ADAL" clId="{287A013E-B4BE-485E-AE94-C2936752CD18}" dt="2020-09-16T09:37:44.480" v="33966"/>
          <ac:spMkLst>
            <pc:docMk/>
            <pc:sldMk cId="1573643847" sldId="258"/>
            <ac:spMk id="178" creationId="{75E98BBA-8C56-4DE8-B7AA-3507CF7051C7}"/>
          </ac:spMkLst>
        </pc:spChg>
        <pc:graphicFrameChg chg="add del mod ord">
          <ac:chgData name="Ugo MANTEL" userId="2d5b7065-31bb-4181-a7f8-a73bf0c30211" providerId="ADAL" clId="{287A013E-B4BE-485E-AE94-C2936752CD18}" dt="2020-09-28T17:49:09.414" v="91116"/>
          <ac:graphicFrameMkLst>
            <pc:docMk/>
            <pc:sldMk cId="1573643847" sldId="258"/>
            <ac:graphicFrameMk id="40" creationId="{5C839262-F004-4004-B6D1-B9A54CA2CC0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6:06:38.844" v="81153"/>
          <ac:graphicFrameMkLst>
            <pc:docMk/>
            <pc:sldMk cId="1573643847" sldId="258"/>
            <ac:graphicFrameMk id="40" creationId="{C3EB02C8-0F2F-4619-9CC4-446E3807F777}"/>
          </ac:graphicFrameMkLst>
        </pc:graphicFrameChg>
        <pc:graphicFrameChg chg="add mod ord">
          <ac:chgData name="Ugo MANTEL" userId="2d5b7065-31bb-4181-a7f8-a73bf0c30211" providerId="ADAL" clId="{287A013E-B4BE-485E-AE94-C2936752CD18}" dt="2020-10-12T10:03:51.918" v="114745"/>
          <ac:graphicFrameMkLst>
            <pc:docMk/>
            <pc:sldMk cId="1573643847" sldId="258"/>
            <ac:graphicFrameMk id="40" creationId="{F9F5AAF3-9E32-49C3-BA45-4B173798A0A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8T17:49:04.904" v="91034"/>
          <ac:graphicFrameMkLst>
            <pc:docMk/>
            <pc:sldMk cId="1573643847" sldId="258"/>
            <ac:graphicFrameMk id="41" creationId="{D65CBBF0-A2B9-4FDE-A550-4C37583831F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10-12T10:03:51.887" v="114715"/>
          <ac:graphicFrameMkLst>
            <pc:docMk/>
            <pc:sldMk cId="1573643847" sldId="258"/>
            <ac:graphicFrameMk id="43" creationId="{9260058F-A095-409B-B6A1-C8FFE1D267D3}"/>
          </ac:graphicFrameMkLst>
        </pc:graphicFrameChg>
        <pc:graphicFrameChg chg="mod ord">
          <ac:chgData name="Ugo MANTEL" userId="2d5b7065-31bb-4181-a7f8-a73bf0c30211" providerId="ADAL" clId="{287A013E-B4BE-485E-AE94-C2936752CD18}" dt="2020-10-12T10:03:51.938" v="114779"/>
          <ac:graphicFrameMkLst>
            <pc:docMk/>
            <pc:sldMk cId="1573643847" sldId="258"/>
            <ac:graphicFrameMk id="44" creationId="{F9AE5294-21FB-443B-AC9E-47D53F90972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2:45:58.471" v="74531"/>
          <ac:graphicFrameMkLst>
            <pc:docMk/>
            <pc:sldMk cId="1573643847" sldId="258"/>
            <ac:graphicFrameMk id="45" creationId="{A9762E28-6ED0-43DC-90C5-A12298B044C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2:45:59.483" v="74697"/>
          <ac:graphicFrameMkLst>
            <pc:docMk/>
            <pc:sldMk cId="1573643847" sldId="258"/>
            <ac:graphicFrameMk id="47" creationId="{76FABEE6-6CC9-4740-92F8-16C1E672BF6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6:06:36.810" v="81089"/>
          <ac:graphicFrameMkLst>
            <pc:docMk/>
            <pc:sldMk cId="1573643847" sldId="258"/>
            <ac:graphicFrameMk id="52" creationId="{0C1599EA-9BA0-4661-8E37-70417D46D82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6T09:37:34.461" v="33395"/>
          <ac:graphicFrameMkLst>
            <pc:docMk/>
            <pc:sldMk cId="1573643847" sldId="258"/>
            <ac:graphicFrameMk id="54" creationId="{3FA63CF4-2ECA-45A7-84C5-721778B8BE74}"/>
          </ac:graphicFrameMkLst>
        </pc:graphicFrameChg>
        <pc:graphicFrameChg chg="del">
          <ac:chgData name="Ugo MANTEL" userId="2d5b7065-31bb-4181-a7f8-a73bf0c30211" providerId="ADAL" clId="{287A013E-B4BE-485E-AE94-C2936752CD18}" dt="2020-09-16T09:37:21.073" v="33017"/>
          <ac:graphicFrameMkLst>
            <pc:docMk/>
            <pc:sldMk cId="1573643847" sldId="258"/>
            <ac:graphicFrameMk id="57" creationId="{53011EE1-FEEE-406A-B7E0-9B80D49A570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6T09:37:36.438" v="33631"/>
          <ac:graphicFrameMkLst>
            <pc:docMk/>
            <pc:sldMk cId="1573643847" sldId="258"/>
            <ac:graphicFrameMk id="59" creationId="{77E93D8A-D2F0-4989-9F99-58A63FA1434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6T09:37:41.198" v="33861"/>
          <ac:graphicFrameMkLst>
            <pc:docMk/>
            <pc:sldMk cId="1573643847" sldId="258"/>
            <ac:graphicFrameMk id="61" creationId="{F8C25076-B956-4206-8FAD-631A1CFF2DF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6T09:37:44.635" v="34043"/>
          <ac:graphicFrameMkLst>
            <pc:docMk/>
            <pc:sldMk cId="1573643847" sldId="258"/>
            <ac:graphicFrameMk id="63" creationId="{BAEE41B2-9925-4662-8163-8173FA8CC1E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6T09:38:00.994" v="34291"/>
          <ac:graphicFrameMkLst>
            <pc:docMk/>
            <pc:sldMk cId="1573643847" sldId="258"/>
            <ac:graphicFrameMk id="64" creationId="{307DC13E-6448-4790-9982-EAF51117E2F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2:45:54.744" v="74355"/>
          <ac:graphicFrameMkLst>
            <pc:docMk/>
            <pc:sldMk cId="1573643847" sldId="258"/>
            <ac:graphicFrameMk id="66" creationId="{2469D53D-086B-4246-8290-DB4930A11636}"/>
          </ac:graphicFrameMkLst>
        </pc:graphicFrameChg>
        <pc:cxnChg chg="mod ord">
          <ac:chgData name="Ugo MANTEL" userId="2d5b7065-31bb-4181-a7f8-a73bf0c30211" providerId="ADAL" clId="{287A013E-B4BE-485E-AE94-C2936752CD18}" dt="2020-10-12T10:03:51.912" v="114733"/>
          <ac:cxnSpMkLst>
            <pc:docMk/>
            <pc:sldMk cId="1573643847" sldId="258"/>
            <ac:cxnSpMk id="4" creationId="{AE69C7FE-B306-4E03-8A12-629329FE6434}"/>
          </ac:cxnSpMkLst>
        </pc:cxnChg>
        <pc:cxnChg chg="del mod ord">
          <ac:chgData name="Ugo MANTEL" userId="2d5b7065-31bb-4181-a7f8-a73bf0c30211" providerId="ADAL" clId="{287A013E-B4BE-485E-AE94-C2936752CD18}" dt="2020-09-16T09:37:44.478" v="33965"/>
          <ac:cxnSpMkLst>
            <pc:docMk/>
            <pc:sldMk cId="1573643847" sldId="258"/>
            <ac:cxnSpMk id="5" creationId="{31267229-A759-41B5-B57C-85276F403621}"/>
          </ac:cxnSpMkLst>
        </pc:cxnChg>
        <pc:cxnChg chg="mod ord">
          <ac:chgData name="Ugo MANTEL" userId="2d5b7065-31bb-4181-a7f8-a73bf0c30211" providerId="ADAL" clId="{287A013E-B4BE-485E-AE94-C2936752CD18}" dt="2020-10-12T10:03:51.914" v="114737"/>
          <ac:cxnSpMkLst>
            <pc:docMk/>
            <pc:sldMk cId="1573643847" sldId="258"/>
            <ac:cxnSpMk id="6" creationId="{8053F143-8075-4B34-B8B8-C33571F2C88A}"/>
          </ac:cxnSpMkLst>
        </pc:cxnChg>
        <pc:cxnChg chg="mod ord">
          <ac:chgData name="Ugo MANTEL" userId="2d5b7065-31bb-4181-a7f8-a73bf0c30211" providerId="ADAL" clId="{287A013E-B4BE-485E-AE94-C2936752CD18}" dt="2020-10-12T10:03:51.911" v="114731"/>
          <ac:cxnSpMkLst>
            <pc:docMk/>
            <pc:sldMk cId="1573643847" sldId="258"/>
            <ac:cxnSpMk id="7" creationId="{8CC86932-1395-4059-86B8-87E19AB49B34}"/>
          </ac:cxnSpMkLst>
        </pc:cxnChg>
        <pc:cxnChg chg="mod ord">
          <ac:chgData name="Ugo MANTEL" userId="2d5b7065-31bb-4181-a7f8-a73bf0c30211" providerId="ADAL" clId="{287A013E-B4BE-485E-AE94-C2936752CD18}" dt="2020-10-12T10:03:51.915" v="114739"/>
          <ac:cxnSpMkLst>
            <pc:docMk/>
            <pc:sldMk cId="1573643847" sldId="258"/>
            <ac:cxnSpMk id="8" creationId="{62064129-2E28-40C1-A365-3EAF8D692731}"/>
          </ac:cxnSpMkLst>
        </pc:cxnChg>
        <pc:cxnChg chg="mod ord">
          <ac:chgData name="Ugo MANTEL" userId="2d5b7065-31bb-4181-a7f8-a73bf0c30211" providerId="ADAL" clId="{287A013E-B4BE-485E-AE94-C2936752CD18}" dt="2020-10-12T10:03:51.910" v="114729"/>
          <ac:cxnSpMkLst>
            <pc:docMk/>
            <pc:sldMk cId="1573643847" sldId="258"/>
            <ac:cxnSpMk id="9" creationId="{41BC0B30-ED35-4001-A1D6-139AF8FB2FD8}"/>
          </ac:cxnSpMkLst>
        </pc:cxnChg>
        <pc:cxnChg chg="add del mod ord">
          <ac:chgData name="Ugo MANTEL" userId="2d5b7065-31bb-4181-a7f8-a73bf0c30211" providerId="ADAL" clId="{287A013E-B4BE-485E-AE94-C2936752CD18}" dt="2020-09-23T12:45:58.417" v="74445"/>
          <ac:cxnSpMkLst>
            <pc:docMk/>
            <pc:sldMk cId="1573643847" sldId="258"/>
            <ac:cxnSpMk id="10" creationId="{2A45994A-A311-4923-BFA7-7028B4B5051B}"/>
          </ac:cxnSpMkLst>
        </pc:cxnChg>
        <pc:cxnChg chg="del mod ord">
          <ac:chgData name="Ugo MANTEL" userId="2d5b7065-31bb-4181-a7f8-a73bf0c30211" providerId="ADAL" clId="{287A013E-B4BE-485E-AE94-C2936752CD18}" dt="2020-09-16T09:37:44.472" v="33962"/>
          <ac:cxnSpMkLst>
            <pc:docMk/>
            <pc:sldMk cId="1573643847" sldId="258"/>
            <ac:cxnSpMk id="10" creationId="{921D8B75-C883-4944-B136-358BD997DDA3}"/>
          </ac:cxnSpMkLst>
        </pc:cxnChg>
        <pc:cxnChg chg="mod ord">
          <ac:chgData name="Ugo MANTEL" userId="2d5b7065-31bb-4181-a7f8-a73bf0c30211" providerId="ADAL" clId="{287A013E-B4BE-485E-AE94-C2936752CD18}" dt="2020-10-12T10:03:51.916" v="114741"/>
          <ac:cxnSpMkLst>
            <pc:docMk/>
            <pc:sldMk cId="1573643847" sldId="258"/>
            <ac:cxnSpMk id="11" creationId="{985DF3CB-9384-404E-AB5A-ABDC96776C30}"/>
          </ac:cxnSpMkLst>
        </pc:cxnChg>
        <pc:cxnChg chg="del mod ord">
          <ac:chgData name="Ugo MANTEL" userId="2d5b7065-31bb-4181-a7f8-a73bf0c30211" providerId="ADAL" clId="{287A013E-B4BE-485E-AE94-C2936752CD18}" dt="2020-09-16T09:37:44.468" v="33959"/>
          <ac:cxnSpMkLst>
            <pc:docMk/>
            <pc:sldMk cId="1573643847" sldId="258"/>
            <ac:cxnSpMk id="12" creationId="{660FA607-6CB1-4897-98EF-EBA7EAD6C283}"/>
          </ac:cxnSpMkLst>
        </pc:cxnChg>
        <pc:cxnChg chg="mod ord">
          <ac:chgData name="Ugo MANTEL" userId="2d5b7065-31bb-4181-a7f8-a73bf0c30211" providerId="ADAL" clId="{287A013E-B4BE-485E-AE94-C2936752CD18}" dt="2020-10-12T10:03:51.917" v="114743"/>
          <ac:cxnSpMkLst>
            <pc:docMk/>
            <pc:sldMk cId="1573643847" sldId="258"/>
            <ac:cxnSpMk id="13" creationId="{7E64383D-B260-4ED8-A534-94181DD7FFF2}"/>
          </ac:cxnSpMkLst>
        </pc:cxnChg>
        <pc:cxnChg chg="mod ord">
          <ac:chgData name="Ugo MANTEL" userId="2d5b7065-31bb-4181-a7f8-a73bf0c30211" providerId="ADAL" clId="{287A013E-B4BE-485E-AE94-C2936752CD18}" dt="2020-10-12T10:03:51.913" v="114735"/>
          <ac:cxnSpMkLst>
            <pc:docMk/>
            <pc:sldMk cId="1573643847" sldId="258"/>
            <ac:cxnSpMk id="14" creationId="{DB88B253-97A1-48F6-AD5F-D88ADB388518}"/>
          </ac:cxnSpMkLst>
        </pc:cxnChg>
        <pc:cxnChg chg="add del mod ord">
          <ac:chgData name="Ugo MANTEL" userId="2d5b7065-31bb-4181-a7f8-a73bf0c30211" providerId="ADAL" clId="{287A013E-B4BE-485E-AE94-C2936752CD18}" dt="2020-09-23T12:45:59.434" v="74617"/>
          <ac:cxnSpMkLst>
            <pc:docMk/>
            <pc:sldMk cId="1573643847" sldId="258"/>
            <ac:cxnSpMk id="15" creationId="{9BA3C5BD-640B-4CC2-8F37-26856B4C3825}"/>
          </ac:cxnSpMkLst>
        </pc:cxnChg>
        <pc:cxnChg chg="del mod ord">
          <ac:chgData name="Ugo MANTEL" userId="2d5b7065-31bb-4181-a7f8-a73bf0c30211" providerId="ADAL" clId="{287A013E-B4BE-485E-AE94-C2936752CD18}" dt="2020-09-16T09:37:44.463" v="33956"/>
          <ac:cxnSpMkLst>
            <pc:docMk/>
            <pc:sldMk cId="1573643847" sldId="258"/>
            <ac:cxnSpMk id="15" creationId="{C458EA12-4C08-42D5-85F6-D0BBEC493261}"/>
          </ac:cxnSpMkLst>
        </pc:cxnChg>
        <pc:cxnChg chg="add del mod ord">
          <ac:chgData name="Ugo MANTEL" userId="2d5b7065-31bb-4181-a7f8-a73bf0c30211" providerId="ADAL" clId="{287A013E-B4BE-485E-AE94-C2936752CD18}" dt="2020-09-16T09:37:36.193" v="33515"/>
          <ac:cxnSpMkLst>
            <pc:docMk/>
            <pc:sldMk cId="1573643847" sldId="258"/>
            <ac:cxnSpMk id="16" creationId="{FA6FA556-E4A1-4354-85A1-7794967747B0}"/>
          </ac:cxnSpMkLst>
        </pc:cxnChg>
        <pc:cxnChg chg="add del mod ord">
          <ac:chgData name="Ugo MANTEL" userId="2d5b7065-31bb-4181-a7f8-a73bf0c30211" providerId="ADAL" clId="{287A013E-B4BE-485E-AE94-C2936752CD18}" dt="2020-09-16T09:37:40.972" v="33749"/>
          <ac:cxnSpMkLst>
            <pc:docMk/>
            <pc:sldMk cId="1573643847" sldId="258"/>
            <ac:cxnSpMk id="17" creationId="{CADB0D8F-5F33-4A62-8E1A-BBD9D3B7DAE5}"/>
          </ac:cxnSpMkLst>
        </pc:cxnChg>
        <pc:cxnChg chg="mod ord">
          <ac:chgData name="Ugo MANTEL" userId="2d5b7065-31bb-4181-a7f8-a73bf0c30211" providerId="ADAL" clId="{287A013E-B4BE-485E-AE94-C2936752CD18}" dt="2020-10-12T10:03:51.924" v="114755"/>
          <ac:cxnSpMkLst>
            <pc:docMk/>
            <pc:sldMk cId="1573643847" sldId="258"/>
            <ac:cxnSpMk id="27" creationId="{AFF0B8F1-CA42-46B3-A1F6-72079A7B0D28}"/>
          </ac:cxnSpMkLst>
        </pc:cxnChg>
        <pc:cxnChg chg="mod ord">
          <ac:chgData name="Ugo MANTEL" userId="2d5b7065-31bb-4181-a7f8-a73bf0c30211" providerId="ADAL" clId="{287A013E-B4BE-485E-AE94-C2936752CD18}" dt="2020-10-12T10:03:51.925" v="114757"/>
          <ac:cxnSpMkLst>
            <pc:docMk/>
            <pc:sldMk cId="1573643847" sldId="258"/>
            <ac:cxnSpMk id="28" creationId="{D4A70354-3411-4330-B0CB-7162769D8411}"/>
          </ac:cxnSpMkLst>
        </pc:cxnChg>
        <pc:cxnChg chg="mod ord">
          <ac:chgData name="Ugo MANTEL" userId="2d5b7065-31bb-4181-a7f8-a73bf0c30211" providerId="ADAL" clId="{287A013E-B4BE-485E-AE94-C2936752CD18}" dt="2020-10-12T10:03:51.922" v="114751"/>
          <ac:cxnSpMkLst>
            <pc:docMk/>
            <pc:sldMk cId="1573643847" sldId="258"/>
            <ac:cxnSpMk id="48" creationId="{7AEE2A3D-8E34-47ED-A744-162D7F6FF665}"/>
          </ac:cxnSpMkLst>
        </pc:cxnChg>
        <pc:cxnChg chg="mod ord">
          <ac:chgData name="Ugo MANTEL" userId="2d5b7065-31bb-4181-a7f8-a73bf0c30211" providerId="ADAL" clId="{287A013E-B4BE-485E-AE94-C2936752CD18}" dt="2020-10-12T10:03:51.919" v="114747"/>
          <ac:cxnSpMkLst>
            <pc:docMk/>
            <pc:sldMk cId="1573643847" sldId="258"/>
            <ac:cxnSpMk id="49" creationId="{62D9085D-E074-4287-9CB1-C0A337A374E8}"/>
          </ac:cxnSpMkLst>
        </pc:cxnChg>
        <pc:cxnChg chg="mod ord">
          <ac:chgData name="Ugo MANTEL" userId="2d5b7065-31bb-4181-a7f8-a73bf0c30211" providerId="ADAL" clId="{287A013E-B4BE-485E-AE94-C2936752CD18}" dt="2020-10-12T10:03:51.921" v="114749"/>
          <ac:cxnSpMkLst>
            <pc:docMk/>
            <pc:sldMk cId="1573643847" sldId="258"/>
            <ac:cxnSpMk id="50" creationId="{96AD1A1B-4041-4EFF-AF08-BEAC86A7C476}"/>
          </ac:cxnSpMkLst>
        </pc:cxnChg>
        <pc:cxnChg chg="del mod ord">
          <ac:chgData name="Ugo MANTEL" userId="2d5b7065-31bb-4181-a7f8-a73bf0c30211" providerId="ADAL" clId="{287A013E-B4BE-485E-AE94-C2936752CD18}" dt="2020-09-16T09:37:44.454" v="33948"/>
          <ac:cxnSpMkLst>
            <pc:docMk/>
            <pc:sldMk cId="1573643847" sldId="258"/>
            <ac:cxnSpMk id="55" creationId="{DC392ED1-FF98-4357-80E3-B092B35EC892}"/>
          </ac:cxnSpMkLst>
        </pc:cxnChg>
        <pc:cxnChg chg="del mod ord">
          <ac:chgData name="Ugo MANTEL" userId="2d5b7065-31bb-4181-a7f8-a73bf0c30211" providerId="ADAL" clId="{287A013E-B4BE-485E-AE94-C2936752CD18}" dt="2020-09-16T09:37:44.457" v="33951"/>
          <ac:cxnSpMkLst>
            <pc:docMk/>
            <pc:sldMk cId="1573643847" sldId="258"/>
            <ac:cxnSpMk id="65" creationId="{25DAF424-2142-44D7-929C-3F9158F27E56}"/>
          </ac:cxnSpMkLst>
        </pc:cxnChg>
        <pc:cxnChg chg="del mod ord">
          <ac:chgData name="Ugo MANTEL" userId="2d5b7065-31bb-4181-a7f8-a73bf0c30211" providerId="ADAL" clId="{287A013E-B4BE-485E-AE94-C2936752CD18}" dt="2020-09-16T09:37:44.460" v="33954"/>
          <ac:cxnSpMkLst>
            <pc:docMk/>
            <pc:sldMk cId="1573643847" sldId="258"/>
            <ac:cxnSpMk id="68" creationId="{EC9B605C-27F3-4ECE-9C8E-8D5F8CB12AAB}"/>
          </ac:cxnSpMkLst>
        </pc:cxnChg>
        <pc:cxnChg chg="mod ord">
          <ac:chgData name="Ugo MANTEL" userId="2d5b7065-31bb-4181-a7f8-a73bf0c30211" providerId="ADAL" clId="{287A013E-B4BE-485E-AE94-C2936752CD18}" dt="2020-10-12T10:03:51.923" v="114753"/>
          <ac:cxnSpMkLst>
            <pc:docMk/>
            <pc:sldMk cId="1573643847" sldId="258"/>
            <ac:cxnSpMk id="186" creationId="{D50359F6-228C-411C-A49B-4FA415B15229}"/>
          </ac:cxnSpMkLst>
        </pc:cxnChg>
      </pc:sldChg>
      <pc:sldChg chg="addSp delSp modSp add mod">
        <pc:chgData name="Ugo MANTEL" userId="2d5b7065-31bb-4181-a7f8-a73bf0c30211" providerId="ADAL" clId="{287A013E-B4BE-485E-AE94-C2936752CD18}" dt="2020-09-28T17:47:47.553" v="90951"/>
        <pc:sldMkLst>
          <pc:docMk/>
          <pc:sldMk cId="2845658035" sldId="259"/>
        </pc:sldMkLst>
        <pc:spChg chg="mod">
          <ac:chgData name="Ugo MANTEL" userId="2d5b7065-31bb-4181-a7f8-a73bf0c30211" providerId="ADAL" clId="{287A013E-B4BE-485E-AE94-C2936752CD18}" dt="2020-09-28T17:47:47.526" v="90907"/>
          <ac:spMkLst>
            <pc:docMk/>
            <pc:sldMk cId="2845658035" sldId="259"/>
            <ac:spMk id="2" creationId="{5FB7E987-01B8-492B-B78E-0EA088CC8C8A}"/>
          </ac:spMkLst>
        </pc:spChg>
        <pc:spChg chg="mod ord">
          <ac:chgData name="Ugo MANTEL" userId="2d5b7065-31bb-4181-a7f8-a73bf0c30211" providerId="ADAL" clId="{287A013E-B4BE-485E-AE94-C2936752CD18}" dt="2020-09-28T17:47:47.527" v="90909"/>
          <ac:spMkLst>
            <pc:docMk/>
            <pc:sldMk cId="2845658035" sldId="259"/>
            <ac:spMk id="3" creationId="{B6CB9626-71CD-4BA3-B2F8-3277490C0DFB}"/>
          </ac:spMkLst>
        </pc:spChg>
        <pc:spChg chg="add del mod">
          <ac:chgData name="Ugo MANTEL" userId="2d5b7065-31bb-4181-a7f8-a73bf0c30211" providerId="ADAL" clId="{287A013E-B4BE-485E-AE94-C2936752CD18}" dt="2020-09-23T15:48:03.840" v="80196"/>
          <ac:spMkLst>
            <pc:docMk/>
            <pc:sldMk cId="2845658035" sldId="259"/>
            <ac:spMk id="4" creationId="{7ABE85B4-9358-4D58-9F1C-DFC3F4367A44}"/>
          </ac:spMkLst>
        </pc:spChg>
        <pc:spChg chg="add del mod">
          <ac:chgData name="Ugo MANTEL" userId="2d5b7065-31bb-4181-a7f8-a73bf0c30211" providerId="ADAL" clId="{287A013E-B4BE-485E-AE94-C2936752CD18}" dt="2020-09-21T11:47:19.951" v="41182"/>
          <ac:spMkLst>
            <pc:docMk/>
            <pc:sldMk cId="2845658035" sldId="259"/>
            <ac:spMk id="4" creationId="{B7670114-7EF6-426F-BB7E-E834F0D7DECB}"/>
          </ac:spMkLst>
        </pc:spChg>
        <pc:spChg chg="add del mod">
          <ac:chgData name="Ugo MANTEL" userId="2d5b7065-31bb-4181-a7f8-a73bf0c30211" providerId="ADAL" clId="{287A013E-B4BE-485E-AE94-C2936752CD18}" dt="2020-09-21T11:47:19.954" v="41188"/>
          <ac:spMkLst>
            <pc:docMk/>
            <pc:sldMk cId="2845658035" sldId="259"/>
            <ac:spMk id="5" creationId="{C1BB6FB9-115F-407D-84CB-1AB3D31F1AB7}"/>
          </ac:spMkLst>
        </pc:spChg>
        <pc:spChg chg="add del mod">
          <ac:chgData name="Ugo MANTEL" userId="2d5b7065-31bb-4181-a7f8-a73bf0c30211" providerId="ADAL" clId="{287A013E-B4BE-485E-AE94-C2936752CD18}" dt="2020-09-21T11:47:19.956" v="41193"/>
          <ac:spMkLst>
            <pc:docMk/>
            <pc:sldMk cId="2845658035" sldId="259"/>
            <ac:spMk id="6" creationId="{1745761A-852B-4C08-B906-5A95E5907C0C}"/>
          </ac:spMkLst>
        </pc:spChg>
        <pc:spChg chg="del mod">
          <ac:chgData name="Ugo MANTEL" userId="2d5b7065-31bb-4181-a7f8-a73bf0c30211" providerId="ADAL" clId="{287A013E-B4BE-485E-AE94-C2936752CD18}" dt="2020-09-17T12:47:36.660" v="34870"/>
          <ac:spMkLst>
            <pc:docMk/>
            <pc:sldMk cId="2845658035" sldId="259"/>
            <ac:spMk id="29" creationId="{08514D1F-E741-4343-B2BB-920A0046EF84}"/>
          </ac:spMkLst>
        </pc:spChg>
        <pc:spChg chg="del mod">
          <ac:chgData name="Ugo MANTEL" userId="2d5b7065-31bb-4181-a7f8-a73bf0c30211" providerId="ADAL" clId="{287A013E-B4BE-485E-AE94-C2936752CD18}" dt="2020-09-17T12:47:36.663" v="34873"/>
          <ac:spMkLst>
            <pc:docMk/>
            <pc:sldMk cId="2845658035" sldId="259"/>
            <ac:spMk id="30" creationId="{61CB25F0-5394-4BD8-92E6-16389BDD1EA6}"/>
          </ac:spMkLst>
        </pc:spChg>
        <pc:spChg chg="del mod">
          <ac:chgData name="Ugo MANTEL" userId="2d5b7065-31bb-4181-a7f8-a73bf0c30211" providerId="ADAL" clId="{287A013E-B4BE-485E-AE94-C2936752CD18}" dt="2020-09-17T12:47:36.659" v="34869"/>
          <ac:spMkLst>
            <pc:docMk/>
            <pc:sldMk cId="2845658035" sldId="259"/>
            <ac:spMk id="31" creationId="{2EFB888C-24EA-4799-91EC-4D24BB2A552B}"/>
          </ac:spMkLst>
        </pc:spChg>
        <pc:spChg chg="del mod">
          <ac:chgData name="Ugo MANTEL" userId="2d5b7065-31bb-4181-a7f8-a73bf0c30211" providerId="ADAL" clId="{287A013E-B4BE-485E-AE94-C2936752CD18}" dt="2020-09-17T12:47:36.656" v="34867"/>
          <ac:spMkLst>
            <pc:docMk/>
            <pc:sldMk cId="2845658035" sldId="259"/>
            <ac:spMk id="32" creationId="{4DE26C2D-BCED-4E76-91EF-6BA802819216}"/>
          </ac:spMkLst>
        </pc:spChg>
        <pc:spChg chg="add mod ord">
          <ac:chgData name="Ugo MANTEL" userId="2d5b7065-31bb-4181-a7f8-a73bf0c30211" providerId="ADAL" clId="{287A013E-B4BE-485E-AE94-C2936752CD18}" dt="2020-09-28T17:47:47.546" v="90941"/>
          <ac:spMkLst>
            <pc:docMk/>
            <pc:sldMk cId="2845658035" sldId="259"/>
            <ac:spMk id="33" creationId="{D92FE710-135A-407E-8354-75DAD1788C01}"/>
          </ac:spMkLst>
        </pc:spChg>
        <pc:spChg chg="del mod">
          <ac:chgData name="Ugo MANTEL" userId="2d5b7065-31bb-4181-a7f8-a73bf0c30211" providerId="ADAL" clId="{287A013E-B4BE-485E-AE94-C2936752CD18}" dt="2020-09-17T12:47:36.658" v="34868"/>
          <ac:spMkLst>
            <pc:docMk/>
            <pc:sldMk cId="2845658035" sldId="259"/>
            <ac:spMk id="33" creationId="{FB71B4E2-CD7D-4ED9-B59C-1DAEEF4D752B}"/>
          </ac:spMkLst>
        </pc:spChg>
        <pc:spChg chg="add mod">
          <ac:chgData name="Ugo MANTEL" userId="2d5b7065-31bb-4181-a7f8-a73bf0c30211" providerId="ADAL" clId="{287A013E-B4BE-485E-AE94-C2936752CD18}" dt="2020-09-28T17:47:47.547" v="90944"/>
          <ac:spMkLst>
            <pc:docMk/>
            <pc:sldMk cId="2845658035" sldId="259"/>
            <ac:spMk id="34" creationId="{3AFD102E-189B-4EAD-841E-B092FEBE39A7}"/>
          </ac:spMkLst>
        </pc:spChg>
        <pc:spChg chg="del mod">
          <ac:chgData name="Ugo MANTEL" userId="2d5b7065-31bb-4181-a7f8-a73bf0c30211" providerId="ADAL" clId="{287A013E-B4BE-485E-AE94-C2936752CD18}" dt="2020-09-17T12:47:36.648" v="34863"/>
          <ac:spMkLst>
            <pc:docMk/>
            <pc:sldMk cId="2845658035" sldId="259"/>
            <ac:spMk id="34" creationId="{FED6F1E6-6643-4D4B-9413-16622D2E3CE2}"/>
          </ac:spMkLst>
        </pc:spChg>
        <pc:spChg chg="del mod">
          <ac:chgData name="Ugo MANTEL" userId="2d5b7065-31bb-4181-a7f8-a73bf0c30211" providerId="ADAL" clId="{287A013E-B4BE-485E-AE94-C2936752CD18}" dt="2020-09-17T12:47:36.652" v="34865"/>
          <ac:spMkLst>
            <pc:docMk/>
            <pc:sldMk cId="2845658035" sldId="259"/>
            <ac:spMk id="35" creationId="{00714E26-EC36-4A85-960D-3EDA17D5A276}"/>
          </ac:spMkLst>
        </pc:spChg>
        <pc:spChg chg="add mod ord">
          <ac:chgData name="Ugo MANTEL" userId="2d5b7065-31bb-4181-a7f8-a73bf0c30211" providerId="ADAL" clId="{287A013E-B4BE-485E-AE94-C2936752CD18}" dt="2020-09-28T17:47:47.548" v="90946"/>
          <ac:spMkLst>
            <pc:docMk/>
            <pc:sldMk cId="2845658035" sldId="259"/>
            <ac:spMk id="35" creationId="{69C9E6B4-12B3-4E4E-B22B-50DDA3CFBDF8}"/>
          </ac:spMkLst>
        </pc:spChg>
        <pc:spChg chg="add del mod">
          <ac:chgData name="Ugo MANTEL" userId="2d5b7065-31bb-4181-a7f8-a73bf0c30211" providerId="ADAL" clId="{287A013E-B4BE-485E-AE94-C2936752CD18}" dt="2020-09-23T15:48:01.918" v="80036"/>
          <ac:spMkLst>
            <pc:docMk/>
            <pc:sldMk cId="2845658035" sldId="259"/>
            <ac:spMk id="36" creationId="{13473925-9F9A-4E9A-97A9-4E87BBB9EA67}"/>
          </ac:spMkLst>
        </pc:spChg>
        <pc:spChg chg="del mod">
          <ac:chgData name="Ugo MANTEL" userId="2d5b7065-31bb-4181-a7f8-a73bf0c30211" providerId="ADAL" clId="{287A013E-B4BE-485E-AE94-C2936752CD18}" dt="2020-09-17T12:47:36.646" v="34862"/>
          <ac:spMkLst>
            <pc:docMk/>
            <pc:sldMk cId="2845658035" sldId="259"/>
            <ac:spMk id="36" creationId="{33094E6A-D62C-4FB5-AA4B-9A8F898CA1E7}"/>
          </ac:spMkLst>
        </pc:spChg>
        <pc:spChg chg="del mod">
          <ac:chgData name="Ugo MANTEL" userId="2d5b7065-31bb-4181-a7f8-a73bf0c30211" providerId="ADAL" clId="{287A013E-B4BE-485E-AE94-C2936752CD18}" dt="2020-09-17T12:47:36.654" v="34866"/>
          <ac:spMkLst>
            <pc:docMk/>
            <pc:sldMk cId="2845658035" sldId="259"/>
            <ac:spMk id="37" creationId="{2120A82C-648E-40A2-A75A-D6C8537E9C96}"/>
          </ac:spMkLst>
        </pc:spChg>
        <pc:spChg chg="add del mod">
          <ac:chgData name="Ugo MANTEL" userId="2d5b7065-31bb-4181-a7f8-a73bf0c30211" providerId="ADAL" clId="{287A013E-B4BE-485E-AE94-C2936752CD18}" dt="2020-09-23T15:48:03.830" v="80187"/>
          <ac:spMkLst>
            <pc:docMk/>
            <pc:sldMk cId="2845658035" sldId="259"/>
            <ac:spMk id="38" creationId="{369299F7-5E63-4201-B880-52FC0BCEDE10}"/>
          </ac:spMkLst>
        </pc:spChg>
        <pc:spChg chg="del mod">
          <ac:chgData name="Ugo MANTEL" userId="2d5b7065-31bb-4181-a7f8-a73bf0c30211" providerId="ADAL" clId="{287A013E-B4BE-485E-AE94-C2936752CD18}" dt="2020-09-17T12:47:36.645" v="34861"/>
          <ac:spMkLst>
            <pc:docMk/>
            <pc:sldMk cId="2845658035" sldId="259"/>
            <ac:spMk id="38" creationId="{97449C5F-EFB9-4A77-BB80-08ACD8569C4D}"/>
          </ac:spMkLst>
        </pc:spChg>
        <pc:spChg chg="del mod">
          <ac:chgData name="Ugo MANTEL" userId="2d5b7065-31bb-4181-a7f8-a73bf0c30211" providerId="ADAL" clId="{287A013E-B4BE-485E-AE94-C2936752CD18}" dt="2020-09-17T12:47:36.650" v="34864"/>
          <ac:spMkLst>
            <pc:docMk/>
            <pc:sldMk cId="2845658035" sldId="259"/>
            <ac:spMk id="39" creationId="{85D2B09C-7410-4FEA-B6D7-C4A5A091ADA8}"/>
          </ac:spMkLst>
        </pc:spChg>
        <pc:spChg chg="del mod">
          <ac:chgData name="Ugo MANTEL" userId="2d5b7065-31bb-4181-a7f8-a73bf0c30211" providerId="ADAL" clId="{287A013E-B4BE-485E-AE94-C2936752CD18}" dt="2020-09-17T12:47:36.662" v="34872"/>
          <ac:spMkLst>
            <pc:docMk/>
            <pc:sldMk cId="2845658035" sldId="259"/>
            <ac:spMk id="40" creationId="{39A82838-48B4-4A6D-BE00-031201B45A51}"/>
          </ac:spMkLst>
        </pc:spChg>
        <pc:spChg chg="add mod">
          <ac:chgData name="Ugo MANTEL" userId="2d5b7065-31bb-4181-a7f8-a73bf0c30211" providerId="ADAL" clId="{287A013E-B4BE-485E-AE94-C2936752CD18}" dt="2020-09-28T17:47:47.547" v="90943"/>
          <ac:spMkLst>
            <pc:docMk/>
            <pc:sldMk cId="2845658035" sldId="259"/>
            <ac:spMk id="40" creationId="{C33429EC-C9AA-4364-8C36-912642D8BA0D}"/>
          </ac:spMkLst>
        </pc:spChg>
        <pc:spChg chg="del mod">
          <ac:chgData name="Ugo MANTEL" userId="2d5b7065-31bb-4181-a7f8-a73bf0c30211" providerId="ADAL" clId="{287A013E-B4BE-485E-AE94-C2936752CD18}" dt="2020-09-17T12:47:36.661" v="34871"/>
          <ac:spMkLst>
            <pc:docMk/>
            <pc:sldMk cId="2845658035" sldId="259"/>
            <ac:spMk id="41" creationId="{C152E67D-402B-4387-8DB5-DF4CAE9F853F}"/>
          </ac:spMkLst>
        </pc:spChg>
        <pc:spChg chg="mod ord">
          <ac:chgData name="Ugo MANTEL" userId="2d5b7065-31bb-4181-a7f8-a73bf0c30211" providerId="ADAL" clId="{287A013E-B4BE-485E-AE94-C2936752CD18}" dt="2020-09-28T17:47:47.526" v="90906"/>
          <ac:spMkLst>
            <pc:docMk/>
            <pc:sldMk cId="2845658035" sldId="259"/>
            <ac:spMk id="42" creationId="{1CDC1D26-5559-48E5-A3EA-95A60632EA3F}"/>
          </ac:spMkLst>
        </pc:spChg>
        <pc:spChg chg="add mod">
          <ac:chgData name="Ugo MANTEL" userId="2d5b7065-31bb-4181-a7f8-a73bf0c30211" providerId="ADAL" clId="{287A013E-B4BE-485E-AE94-C2936752CD18}" dt="2020-09-28T17:47:47.549" v="90949"/>
          <ac:spMkLst>
            <pc:docMk/>
            <pc:sldMk cId="2845658035" sldId="259"/>
            <ac:spMk id="43" creationId="{4E48F018-B462-4BCF-A8E5-AC7DAC9B3452}"/>
          </ac:spMkLst>
        </pc:spChg>
        <pc:spChg chg="add del mod">
          <ac:chgData name="Ugo MANTEL" userId="2d5b7065-31bb-4181-a7f8-a73bf0c30211" providerId="ADAL" clId="{287A013E-B4BE-485E-AE94-C2936752CD18}" dt="2020-09-17T12:47:41.452" v="34960"/>
          <ac:spMkLst>
            <pc:docMk/>
            <pc:sldMk cId="2845658035" sldId="259"/>
            <ac:spMk id="54" creationId="{E69BA32E-993F-49DC-AA56-858BB99868EB}"/>
          </ac:spMkLst>
        </pc:spChg>
        <pc:spChg chg="add del mod">
          <ac:chgData name="Ugo MANTEL" userId="2d5b7065-31bb-4181-a7f8-a73bf0c30211" providerId="ADAL" clId="{287A013E-B4BE-485E-AE94-C2936752CD18}" dt="2020-09-17T12:47:41.465" v="34972"/>
          <ac:spMkLst>
            <pc:docMk/>
            <pc:sldMk cId="2845658035" sldId="259"/>
            <ac:spMk id="56" creationId="{0DE70C36-3EDB-4AAC-B3A5-51E21F3042B2}"/>
          </ac:spMkLst>
        </pc:spChg>
        <pc:spChg chg="del mod">
          <ac:chgData name="Ugo MANTEL" userId="2d5b7065-31bb-4181-a7f8-a73bf0c30211" providerId="ADAL" clId="{287A013E-B4BE-485E-AE94-C2936752CD18}" dt="2020-09-17T12:47:16.491" v="34485"/>
          <ac:spMkLst>
            <pc:docMk/>
            <pc:sldMk cId="2845658035" sldId="259"/>
            <ac:spMk id="61" creationId="{2674AC2A-CD88-4B9C-B139-84B02CB6730A}"/>
          </ac:spMkLst>
        </pc:spChg>
        <pc:spChg chg="add mod">
          <ac:chgData name="Ugo MANTEL" userId="2d5b7065-31bb-4181-a7f8-a73bf0c30211" providerId="ADAL" clId="{287A013E-B4BE-485E-AE94-C2936752CD18}" dt="2020-09-28T17:47:47.543" v="90934"/>
          <ac:spMkLst>
            <pc:docMk/>
            <pc:sldMk cId="2845658035" sldId="259"/>
            <ac:spMk id="62" creationId="{DDA89CF1-ED96-464B-A95D-B2E5C84A9B05}"/>
          </ac:spMkLst>
        </pc:spChg>
        <pc:spChg chg="del mod">
          <ac:chgData name="Ugo MANTEL" userId="2d5b7065-31bb-4181-a7f8-a73bf0c30211" providerId="ADAL" clId="{287A013E-B4BE-485E-AE94-C2936752CD18}" dt="2020-09-17T12:47:16.505" v="34505"/>
          <ac:spMkLst>
            <pc:docMk/>
            <pc:sldMk cId="2845658035" sldId="259"/>
            <ac:spMk id="63" creationId="{259E7688-FFFF-4E3F-AA08-89827CC38777}"/>
          </ac:spMkLst>
        </pc:spChg>
        <pc:spChg chg="del mod">
          <ac:chgData name="Ugo MANTEL" userId="2d5b7065-31bb-4181-a7f8-a73bf0c30211" providerId="ADAL" clId="{287A013E-B4BE-485E-AE94-C2936752CD18}" dt="2020-09-17T12:47:41.492" v="35009"/>
          <ac:spMkLst>
            <pc:docMk/>
            <pc:sldMk cId="2845658035" sldId="259"/>
            <ac:spMk id="66" creationId="{BEFA5DD4-8005-4BC0-B81D-BE2A10F0A785}"/>
          </ac:spMkLst>
        </pc:spChg>
        <pc:spChg chg="add mod">
          <ac:chgData name="Ugo MANTEL" userId="2d5b7065-31bb-4181-a7f8-a73bf0c30211" providerId="ADAL" clId="{287A013E-B4BE-485E-AE94-C2936752CD18}" dt="2020-09-28T17:47:47.542" v="90931"/>
          <ac:spMkLst>
            <pc:docMk/>
            <pc:sldMk cId="2845658035" sldId="259"/>
            <ac:spMk id="69" creationId="{0DD80383-1195-4C08-B4CC-E4F101EF5A17}"/>
          </ac:spMkLst>
        </pc:spChg>
        <pc:spChg chg="add mod">
          <ac:chgData name="Ugo MANTEL" userId="2d5b7065-31bb-4181-a7f8-a73bf0c30211" providerId="ADAL" clId="{287A013E-B4BE-485E-AE94-C2936752CD18}" dt="2020-09-28T17:47:47.545" v="90938"/>
          <ac:spMkLst>
            <pc:docMk/>
            <pc:sldMk cId="2845658035" sldId="259"/>
            <ac:spMk id="71" creationId="{89E90AC5-EA49-47F7-B732-9E84FCDD4BA2}"/>
          </ac:spMkLst>
        </pc:spChg>
        <pc:spChg chg="add mod">
          <ac:chgData name="Ugo MANTEL" userId="2d5b7065-31bb-4181-a7f8-a73bf0c30211" providerId="ADAL" clId="{287A013E-B4BE-485E-AE94-C2936752CD18}" dt="2020-09-28T17:47:47.540" v="90928"/>
          <ac:spMkLst>
            <pc:docMk/>
            <pc:sldMk cId="2845658035" sldId="259"/>
            <ac:spMk id="73" creationId="{D1D17CF5-4598-473B-9D19-1366DB797309}"/>
          </ac:spMkLst>
        </pc:spChg>
        <pc:spChg chg="add mod">
          <ac:chgData name="Ugo MANTEL" userId="2d5b7065-31bb-4181-a7f8-a73bf0c30211" providerId="ADAL" clId="{287A013E-B4BE-485E-AE94-C2936752CD18}" dt="2020-09-28T17:47:47.545" v="90939"/>
          <ac:spMkLst>
            <pc:docMk/>
            <pc:sldMk cId="2845658035" sldId="259"/>
            <ac:spMk id="75" creationId="{7BE01F4C-A047-4D91-B3E6-1EBF50A89DB2}"/>
          </ac:spMkLst>
        </pc:spChg>
        <pc:spChg chg="add del mod">
          <ac:chgData name="Ugo MANTEL" userId="2d5b7065-31bb-4181-a7f8-a73bf0c30211" providerId="ADAL" clId="{287A013E-B4BE-485E-AE94-C2936752CD18}" dt="2020-09-17T12:48:45.977" v="35400"/>
          <ac:spMkLst>
            <pc:docMk/>
            <pc:sldMk cId="2845658035" sldId="259"/>
            <ac:spMk id="77" creationId="{88C6F1FE-ADA7-497A-AFFA-5F7527B032A6}"/>
          </ac:spMkLst>
        </pc:spChg>
        <pc:spChg chg="add mod">
          <ac:chgData name="Ugo MANTEL" userId="2d5b7065-31bb-4181-a7f8-a73bf0c30211" providerId="ADAL" clId="{287A013E-B4BE-485E-AE94-C2936752CD18}" dt="2020-09-28T17:47:47.547" v="90942"/>
          <ac:spMkLst>
            <pc:docMk/>
            <pc:sldMk cId="2845658035" sldId="259"/>
            <ac:spMk id="78" creationId="{8A55D17A-D6B6-4F77-B657-066C85C70D8B}"/>
          </ac:spMkLst>
        </pc:spChg>
        <pc:spChg chg="add mod">
          <ac:chgData name="Ugo MANTEL" userId="2d5b7065-31bb-4181-a7f8-a73bf0c30211" providerId="ADAL" clId="{287A013E-B4BE-485E-AE94-C2936752CD18}" dt="2020-09-28T17:47:47.548" v="90945"/>
          <ac:spMkLst>
            <pc:docMk/>
            <pc:sldMk cId="2845658035" sldId="259"/>
            <ac:spMk id="79" creationId="{B71EC7A3-507F-4E0A-89CF-50FEDFCE41DF}"/>
          </ac:spMkLst>
        </pc:spChg>
        <pc:spChg chg="add mod">
          <ac:chgData name="Ugo MANTEL" userId="2d5b7065-31bb-4181-a7f8-a73bf0c30211" providerId="ADAL" clId="{287A013E-B4BE-485E-AE94-C2936752CD18}" dt="2020-09-28T17:47:47.548" v="90947"/>
          <ac:spMkLst>
            <pc:docMk/>
            <pc:sldMk cId="2845658035" sldId="259"/>
            <ac:spMk id="80" creationId="{8343B1C6-0310-425B-A67D-B1D614E07B90}"/>
          </ac:spMkLst>
        </pc:spChg>
        <pc:spChg chg="add mod">
          <ac:chgData name="Ugo MANTEL" userId="2d5b7065-31bb-4181-a7f8-a73bf0c30211" providerId="ADAL" clId="{287A013E-B4BE-485E-AE94-C2936752CD18}" dt="2020-09-28T17:47:47.544" v="90937"/>
          <ac:spMkLst>
            <pc:docMk/>
            <pc:sldMk cId="2845658035" sldId="259"/>
            <ac:spMk id="84" creationId="{5668CDA6-9517-4468-8B6B-F311104237DC}"/>
          </ac:spMkLst>
        </pc:spChg>
        <pc:spChg chg="add mod">
          <ac:chgData name="Ugo MANTEL" userId="2d5b7065-31bb-4181-a7f8-a73bf0c30211" providerId="ADAL" clId="{287A013E-B4BE-485E-AE94-C2936752CD18}" dt="2020-09-28T17:47:47.549" v="90948"/>
          <ac:spMkLst>
            <pc:docMk/>
            <pc:sldMk cId="2845658035" sldId="259"/>
            <ac:spMk id="90" creationId="{025749F2-DAB1-4930-8CBA-BF51E2B77500}"/>
          </ac:spMkLst>
        </pc:spChg>
        <pc:spChg chg="add mod ord">
          <ac:chgData name="Ugo MANTEL" userId="2d5b7065-31bb-4181-a7f8-a73bf0c30211" providerId="ADAL" clId="{287A013E-B4BE-485E-AE94-C2936752CD18}" dt="2020-09-28T17:47:47.544" v="90936"/>
          <ac:spMkLst>
            <pc:docMk/>
            <pc:sldMk cId="2845658035" sldId="259"/>
            <ac:spMk id="91" creationId="{7B55D91B-3EC4-4FA4-AB8F-BEED8FD2F67F}"/>
          </ac:spMkLst>
        </pc:spChg>
        <pc:spChg chg="add mod ord">
          <ac:chgData name="Ugo MANTEL" userId="2d5b7065-31bb-4181-a7f8-a73bf0c30211" providerId="ADAL" clId="{287A013E-B4BE-485E-AE94-C2936752CD18}" dt="2020-09-28T17:47:47.542" v="90933"/>
          <ac:spMkLst>
            <pc:docMk/>
            <pc:sldMk cId="2845658035" sldId="259"/>
            <ac:spMk id="92" creationId="{1C765528-A807-44BB-B7DF-3D0E9183AE01}"/>
          </ac:spMkLst>
        </pc:spChg>
        <pc:spChg chg="add mod ord">
          <ac:chgData name="Ugo MANTEL" userId="2d5b7065-31bb-4181-a7f8-a73bf0c30211" providerId="ADAL" clId="{287A013E-B4BE-485E-AE94-C2936752CD18}" dt="2020-09-28T17:47:47.541" v="90930"/>
          <ac:spMkLst>
            <pc:docMk/>
            <pc:sldMk cId="2845658035" sldId="259"/>
            <ac:spMk id="93" creationId="{836E356A-6061-4D7F-8517-61DE0AF9230D}"/>
          </ac:spMkLst>
        </pc:spChg>
        <pc:spChg chg="add del mod">
          <ac:chgData name="Ugo MANTEL" userId="2d5b7065-31bb-4181-a7f8-a73bf0c30211" providerId="ADAL" clId="{287A013E-B4BE-485E-AE94-C2936752CD18}" dt="2020-09-17T12:52:24.781" v="36426"/>
          <ac:spMkLst>
            <pc:docMk/>
            <pc:sldMk cId="2845658035" sldId="259"/>
            <ac:spMk id="94" creationId="{73B00121-20EF-47F0-AAB9-F6BC9F5E4C60}"/>
          </ac:spMkLst>
        </pc:spChg>
        <pc:spChg chg="add del mod">
          <ac:chgData name="Ugo MANTEL" userId="2d5b7065-31bb-4181-a7f8-a73bf0c30211" providerId="ADAL" clId="{287A013E-B4BE-485E-AE94-C2936752CD18}" dt="2020-09-21T11:46:00.305" v="40826"/>
          <ac:spMkLst>
            <pc:docMk/>
            <pc:sldMk cId="2845658035" sldId="259"/>
            <ac:spMk id="95" creationId="{B322E54F-C1CE-4838-BA36-5C7D239FB506}"/>
          </ac:spMkLst>
        </pc:spChg>
        <pc:spChg chg="add del mod ord">
          <ac:chgData name="Ugo MANTEL" userId="2d5b7065-31bb-4181-a7f8-a73bf0c30211" providerId="ADAL" clId="{287A013E-B4BE-485E-AE94-C2936752CD18}" dt="2020-09-21T11:46:00.308" v="40828"/>
          <ac:spMkLst>
            <pc:docMk/>
            <pc:sldMk cId="2845658035" sldId="259"/>
            <ac:spMk id="96" creationId="{D533EA4E-00F7-4FB8-90CD-4988B499AF21}"/>
          </ac:spMkLst>
        </pc:spChg>
        <pc:spChg chg="add del mod ord">
          <ac:chgData name="Ugo MANTEL" userId="2d5b7065-31bb-4181-a7f8-a73bf0c30211" providerId="ADAL" clId="{287A013E-B4BE-485E-AE94-C2936752CD18}" dt="2020-09-21T11:46:00.309" v="40829"/>
          <ac:spMkLst>
            <pc:docMk/>
            <pc:sldMk cId="2845658035" sldId="259"/>
            <ac:spMk id="97" creationId="{0AF195DA-64EA-4D47-8448-B67C7C45F1B3}"/>
          </ac:spMkLst>
        </pc:spChg>
        <pc:spChg chg="add del mod">
          <ac:chgData name="Ugo MANTEL" userId="2d5b7065-31bb-4181-a7f8-a73bf0c30211" providerId="ADAL" clId="{287A013E-B4BE-485E-AE94-C2936752CD18}" dt="2020-09-17T12:52:26.596" v="36572"/>
          <ac:spMkLst>
            <pc:docMk/>
            <pc:sldMk cId="2845658035" sldId="259"/>
            <ac:spMk id="98" creationId="{0A2E156D-8109-4344-B6C5-7BCE3BA53F87}"/>
          </ac:spMkLst>
        </pc:spChg>
        <pc:spChg chg="add del mod">
          <ac:chgData name="Ugo MANTEL" userId="2d5b7065-31bb-4181-a7f8-a73bf0c30211" providerId="ADAL" clId="{287A013E-B4BE-485E-AE94-C2936752CD18}" dt="2020-09-23T15:47:56.310" v="79748"/>
          <ac:spMkLst>
            <pc:docMk/>
            <pc:sldMk cId="2845658035" sldId="259"/>
            <ac:spMk id="103" creationId="{0C299CD9-AA0D-4A32-AC8E-2D068CCCF630}"/>
          </ac:spMkLst>
        </pc:spChg>
        <pc:spChg chg="add del mod">
          <ac:chgData name="Ugo MANTEL" userId="2d5b7065-31bb-4181-a7f8-a73bf0c30211" providerId="ADAL" clId="{287A013E-B4BE-485E-AE94-C2936752CD18}" dt="2020-09-23T15:47:56.329" v="79768"/>
          <ac:spMkLst>
            <pc:docMk/>
            <pc:sldMk cId="2845658035" sldId="259"/>
            <ac:spMk id="105" creationId="{9B0573BB-BE8C-42C0-A52E-68C866ADCA44}"/>
          </ac:spMkLst>
        </pc:spChg>
        <pc:spChg chg="del mod">
          <ac:chgData name="Ugo MANTEL" userId="2d5b7065-31bb-4181-a7f8-a73bf0c30211" providerId="ADAL" clId="{287A013E-B4BE-485E-AE94-C2936752CD18}" dt="2020-09-17T12:47:41.476" v="34986"/>
          <ac:spMkLst>
            <pc:docMk/>
            <pc:sldMk cId="2845658035" sldId="259"/>
            <ac:spMk id="165" creationId="{5C34D846-5CB4-44D6-A90D-D126F6A15053}"/>
          </ac:spMkLst>
        </pc:spChg>
        <pc:spChg chg="del mod">
          <ac:chgData name="Ugo MANTEL" userId="2d5b7065-31bb-4181-a7f8-a73bf0c30211" providerId="ADAL" clId="{287A013E-B4BE-485E-AE94-C2936752CD18}" dt="2020-09-17T12:47:41.446" v="34951"/>
          <ac:spMkLst>
            <pc:docMk/>
            <pc:sldMk cId="2845658035" sldId="259"/>
            <ac:spMk id="167" creationId="{3FD5BDCC-A5B7-4998-8DC7-4D6909231A15}"/>
          </ac:spMkLst>
        </pc:spChg>
        <pc:spChg chg="del mod">
          <ac:chgData name="Ugo MANTEL" userId="2d5b7065-31bb-4181-a7f8-a73bf0c30211" providerId="ADAL" clId="{287A013E-B4BE-485E-AE94-C2936752CD18}" dt="2020-09-17T12:47:41.449" v="34954"/>
          <ac:spMkLst>
            <pc:docMk/>
            <pc:sldMk cId="2845658035" sldId="259"/>
            <ac:spMk id="168" creationId="{CED88030-701E-499A-A464-3C34C5228A3F}"/>
          </ac:spMkLst>
        </pc:spChg>
        <pc:spChg chg="del mod">
          <ac:chgData name="Ugo MANTEL" userId="2d5b7065-31bb-4181-a7f8-a73bf0c30211" providerId="ADAL" clId="{287A013E-B4BE-485E-AE94-C2936752CD18}" dt="2020-09-17T12:47:41.451" v="34957"/>
          <ac:spMkLst>
            <pc:docMk/>
            <pc:sldMk cId="2845658035" sldId="259"/>
            <ac:spMk id="169" creationId="{2B45617E-18DB-4E4A-81BE-72286154FCC1}"/>
          </ac:spMkLst>
        </pc:spChg>
        <pc:spChg chg="del mod">
          <ac:chgData name="Ugo MANTEL" userId="2d5b7065-31bb-4181-a7f8-a73bf0c30211" providerId="ADAL" clId="{287A013E-B4BE-485E-AE94-C2936752CD18}" dt="2020-09-17T12:47:41.455" v="34963"/>
          <ac:spMkLst>
            <pc:docMk/>
            <pc:sldMk cId="2845658035" sldId="259"/>
            <ac:spMk id="171" creationId="{B8734C2E-BE04-4B3A-BAA9-6C1D8581526B}"/>
          </ac:spMkLst>
        </pc:spChg>
        <pc:spChg chg="del mod">
          <ac:chgData name="Ugo MANTEL" userId="2d5b7065-31bb-4181-a7f8-a73bf0c30211" providerId="ADAL" clId="{287A013E-B4BE-485E-AE94-C2936752CD18}" dt="2020-09-17T12:47:41.459" v="34966"/>
          <ac:spMkLst>
            <pc:docMk/>
            <pc:sldMk cId="2845658035" sldId="259"/>
            <ac:spMk id="172" creationId="{6A5EF5DD-3BAC-4E5E-B000-376F8E699F71}"/>
          </ac:spMkLst>
        </pc:spChg>
        <pc:spChg chg="del mod">
          <ac:chgData name="Ugo MANTEL" userId="2d5b7065-31bb-4181-a7f8-a73bf0c30211" providerId="ADAL" clId="{287A013E-B4BE-485E-AE94-C2936752CD18}" dt="2020-09-17T12:47:41.463" v="34969"/>
          <ac:spMkLst>
            <pc:docMk/>
            <pc:sldMk cId="2845658035" sldId="259"/>
            <ac:spMk id="173" creationId="{84E3CE5E-D6F1-44D8-A0DB-1B49B448B06F}"/>
          </ac:spMkLst>
        </pc:spChg>
        <pc:spChg chg="del mod">
          <ac:chgData name="Ugo MANTEL" userId="2d5b7065-31bb-4181-a7f8-a73bf0c30211" providerId="ADAL" clId="{287A013E-B4BE-485E-AE94-C2936752CD18}" dt="2020-09-17T12:47:41.467" v="34975"/>
          <ac:spMkLst>
            <pc:docMk/>
            <pc:sldMk cId="2845658035" sldId="259"/>
            <ac:spMk id="175" creationId="{4160291E-B783-4FDD-A513-8686062EE52E}"/>
          </ac:spMkLst>
        </pc:spChg>
        <pc:spChg chg="del mod">
          <ac:chgData name="Ugo MANTEL" userId="2d5b7065-31bb-4181-a7f8-a73bf0c30211" providerId="ADAL" clId="{287A013E-B4BE-485E-AE94-C2936752CD18}" dt="2020-09-17T12:47:41.469" v="34978"/>
          <ac:spMkLst>
            <pc:docMk/>
            <pc:sldMk cId="2845658035" sldId="259"/>
            <ac:spMk id="176" creationId="{644F69EF-A319-4637-8C83-7C1750CEDA2E}"/>
          </ac:spMkLst>
        </pc:spChg>
        <pc:spChg chg="del mod">
          <ac:chgData name="Ugo MANTEL" userId="2d5b7065-31bb-4181-a7f8-a73bf0c30211" providerId="ADAL" clId="{287A013E-B4BE-485E-AE94-C2936752CD18}" dt="2020-09-17T12:47:41.471" v="34981"/>
          <ac:spMkLst>
            <pc:docMk/>
            <pc:sldMk cId="2845658035" sldId="259"/>
            <ac:spMk id="177" creationId="{0D8561B6-7236-4464-86AB-9E5F521CC4EA}"/>
          </ac:spMkLst>
        </pc:spChg>
        <pc:graphicFrameChg chg="add del mod ord">
          <ac:chgData name="Ugo MANTEL" userId="2d5b7065-31bb-4181-a7f8-a73bf0c30211" providerId="ADAL" clId="{287A013E-B4BE-485E-AE94-C2936752CD18}" dt="2020-09-21T11:47:19.969" v="41209"/>
          <ac:graphicFrameMkLst>
            <pc:docMk/>
            <pc:sldMk cId="2845658035" sldId="259"/>
            <ac:graphicFrameMk id="36" creationId="{2DDE7655-D9AE-4AC3-A358-B1B9018D37B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8T17:47:47.502" v="90897"/>
          <ac:graphicFrameMkLst>
            <pc:docMk/>
            <pc:sldMk cId="2845658035" sldId="259"/>
            <ac:graphicFrameMk id="36" creationId="{6BD3B900-24DD-4B47-8F07-5FD86DA7814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5:47:56.492" v="79958"/>
          <ac:graphicFrameMkLst>
            <pc:docMk/>
            <pc:sldMk cId="2845658035" sldId="259"/>
            <ac:graphicFrameMk id="37" creationId="{44476F00-F941-4AD1-A11D-6AD479294A9D}"/>
          </ac:graphicFrameMkLst>
        </pc:graphicFrameChg>
        <pc:graphicFrameChg chg="add mod ord">
          <ac:chgData name="Ugo MANTEL" userId="2d5b7065-31bb-4181-a7f8-a73bf0c30211" providerId="ADAL" clId="{287A013E-B4BE-485E-AE94-C2936752CD18}" dt="2020-09-28T17:47:47.539" v="90927"/>
          <ac:graphicFrameMkLst>
            <pc:docMk/>
            <pc:sldMk cId="2845658035" sldId="259"/>
            <ac:graphicFrameMk id="37" creationId="{8980F331-3C94-41A2-AC79-899B178325E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5:48:01.979" v="80110"/>
          <ac:graphicFrameMkLst>
            <pc:docMk/>
            <pc:sldMk cId="2845658035" sldId="259"/>
            <ac:graphicFrameMk id="39" creationId="{27A92324-2638-4539-B366-2959671BC11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5:48:03.870" v="80255"/>
          <ac:graphicFrameMkLst>
            <pc:docMk/>
            <pc:sldMk cId="2845658035" sldId="259"/>
            <ac:graphicFrameMk id="41" creationId="{215E71B6-DD96-4B1B-AACD-CAA348EAD81C}"/>
          </ac:graphicFrameMkLst>
        </pc:graphicFrameChg>
        <pc:graphicFrameChg chg="mod ord">
          <ac:chgData name="Ugo MANTEL" userId="2d5b7065-31bb-4181-a7f8-a73bf0c30211" providerId="ADAL" clId="{287A013E-B4BE-485E-AE94-C2936752CD18}" dt="2020-09-28T17:47:47.553" v="90951"/>
          <ac:graphicFrameMkLst>
            <pc:docMk/>
            <pc:sldMk cId="2845658035" sldId="259"/>
            <ac:graphicFrameMk id="44" creationId="{F9AE5294-21FB-443B-AC9E-47D53F90972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6:08:25.384" v="81449"/>
          <ac:graphicFrameMkLst>
            <pc:docMk/>
            <pc:sldMk cId="2845658035" sldId="259"/>
            <ac:graphicFrameMk id="45" creationId="{C9AF4E2D-B56C-4976-94D3-52F15E1F854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6:08:28.195" v="81505"/>
          <ac:graphicFrameMkLst>
            <pc:docMk/>
            <pc:sldMk cId="2845658035" sldId="259"/>
            <ac:graphicFrameMk id="46" creationId="{B2EFAAFC-0961-43D6-B09D-A93912F42DF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8T17:47:43.912" v="90823"/>
          <ac:graphicFrameMkLst>
            <pc:docMk/>
            <pc:sldMk cId="2845658035" sldId="259"/>
            <ac:graphicFrameMk id="47" creationId="{31ACC2E3-797B-45F1-9EC4-2C4E982CBE0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47:36.674" v="34875"/>
          <ac:graphicFrameMkLst>
            <pc:docMk/>
            <pc:sldMk cId="2845658035" sldId="259"/>
            <ac:graphicFrameMk id="58" creationId="{50BA1CA2-912C-4842-AB65-6459C70AE5B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47:41.502" v="35011"/>
          <ac:graphicFrameMkLst>
            <pc:docMk/>
            <pc:sldMk cId="2845658035" sldId="259"/>
            <ac:graphicFrameMk id="59" creationId="{EBEED15E-9C09-4BC0-802D-939748B0129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48:03.363" v="35091"/>
          <ac:graphicFrameMkLst>
            <pc:docMk/>
            <pc:sldMk cId="2845658035" sldId="259"/>
            <ac:graphicFrameMk id="60" creationId="{732523E3-B02E-481E-A50C-6EF2CB358BC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48:12.143" v="35133"/>
          <ac:graphicFrameMkLst>
            <pc:docMk/>
            <pc:sldMk cId="2845658035" sldId="259"/>
            <ac:graphicFrameMk id="64" creationId="{09519F14-7F9E-4830-B4F6-1E3E585FB84D}"/>
          </ac:graphicFrameMkLst>
        </pc:graphicFrameChg>
        <pc:graphicFrameChg chg="del">
          <ac:chgData name="Ugo MANTEL" userId="2d5b7065-31bb-4181-a7f8-a73bf0c30211" providerId="ADAL" clId="{287A013E-B4BE-485E-AE94-C2936752CD18}" dt="2020-09-17T12:47:16.724" v="34759"/>
          <ac:graphicFrameMkLst>
            <pc:docMk/>
            <pc:sldMk cId="2845658035" sldId="259"/>
            <ac:graphicFrameMk id="67" creationId="{E8040A38-3476-4F75-B06D-9235AF1FF87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48:19.969" v="35175"/>
          <ac:graphicFrameMkLst>
            <pc:docMk/>
            <pc:sldMk cId="2845658035" sldId="259"/>
            <ac:graphicFrameMk id="70" creationId="{BCD8D2C1-5D00-4C0F-89AB-8B4A60BD06D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48:29.350" v="35222"/>
          <ac:graphicFrameMkLst>
            <pc:docMk/>
            <pc:sldMk cId="2845658035" sldId="259"/>
            <ac:graphicFrameMk id="72" creationId="{36CB1023-229E-4450-9A34-D501FE13006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48:33.692" v="35267"/>
          <ac:graphicFrameMkLst>
            <pc:docMk/>
            <pc:sldMk cId="2845658035" sldId="259"/>
            <ac:graphicFrameMk id="74" creationId="{FC0BDC25-C454-4863-B3FC-3DA52835A8E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48:41.659" v="35373"/>
          <ac:graphicFrameMkLst>
            <pc:docMk/>
            <pc:sldMk cId="2845658035" sldId="259"/>
            <ac:graphicFrameMk id="76" creationId="{F2A28A1F-6861-4C53-BC09-996BC4268F2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48:45.979" v="35402"/>
          <ac:graphicFrameMkLst>
            <pc:docMk/>
            <pc:sldMk cId="2845658035" sldId="259"/>
            <ac:graphicFrameMk id="81" creationId="{F0056D10-C28B-4C2E-8BDE-D4E69F6A987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48:49.919" v="35440"/>
          <ac:graphicFrameMkLst>
            <pc:docMk/>
            <pc:sldMk cId="2845658035" sldId="259"/>
            <ac:graphicFrameMk id="82" creationId="{27D6CDD2-1FE7-4BBD-8A23-447ADF327AB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48:53.961" v="35493"/>
          <ac:graphicFrameMkLst>
            <pc:docMk/>
            <pc:sldMk cId="2845658035" sldId="259"/>
            <ac:graphicFrameMk id="83" creationId="{E2B77AB0-280E-4B6C-B905-9158F599541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48:56.762" v="35520"/>
          <ac:graphicFrameMkLst>
            <pc:docMk/>
            <pc:sldMk cId="2845658035" sldId="259"/>
            <ac:graphicFrameMk id="85" creationId="{8BAAE051-0330-4513-B9F2-D1EF3559896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49:00.250" v="35547"/>
          <ac:graphicFrameMkLst>
            <pc:docMk/>
            <pc:sldMk cId="2845658035" sldId="259"/>
            <ac:graphicFrameMk id="86" creationId="{5835BA16-B718-43AE-B57C-DEA93C469F8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49:27.547" v="35574"/>
          <ac:graphicFrameMkLst>
            <pc:docMk/>
            <pc:sldMk cId="2845658035" sldId="259"/>
            <ac:graphicFrameMk id="87" creationId="{2EE822FE-304E-4187-92F6-197C3749593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49:30.718" v="35601"/>
          <ac:graphicFrameMkLst>
            <pc:docMk/>
            <pc:sldMk cId="2845658035" sldId="259"/>
            <ac:graphicFrameMk id="88" creationId="{94C9E992-A58D-4E78-8B4A-EAB2014DBA4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2:15.993" v="36350"/>
          <ac:graphicFrameMkLst>
            <pc:docMk/>
            <pc:sldMk cId="2845658035" sldId="259"/>
            <ac:graphicFrameMk id="89" creationId="{D169B01B-F9C1-4F57-B123-B4E247E549D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2:24.846" v="36498"/>
          <ac:graphicFrameMkLst>
            <pc:docMk/>
            <pc:sldMk cId="2845658035" sldId="259"/>
            <ac:graphicFrameMk id="102" creationId="{7574133E-9D39-4625-A964-3F795B1682B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2:26.635" v="36640"/>
          <ac:graphicFrameMkLst>
            <pc:docMk/>
            <pc:sldMk cId="2845658035" sldId="259"/>
            <ac:graphicFrameMk id="104" creationId="{3E6404EC-D58E-488E-ADD0-A6B9170B4A4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2:41.311" v="36694"/>
          <ac:graphicFrameMkLst>
            <pc:docMk/>
            <pc:sldMk cId="2845658035" sldId="259"/>
            <ac:graphicFrameMk id="106" creationId="{A9177F36-9CEF-49DF-AC8F-48445C534AF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2:45.506" v="36748"/>
          <ac:graphicFrameMkLst>
            <pc:docMk/>
            <pc:sldMk cId="2845658035" sldId="259"/>
            <ac:graphicFrameMk id="107" creationId="{4E4DF561-24DF-46D7-975B-3CEC6BCAC0E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2:49.648" v="36802"/>
          <ac:graphicFrameMkLst>
            <pc:docMk/>
            <pc:sldMk cId="2845658035" sldId="259"/>
            <ac:graphicFrameMk id="108" creationId="{60CED41D-6085-4FD6-9ECA-7A28713D34B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3:04.130" v="36856"/>
          <ac:graphicFrameMkLst>
            <pc:docMk/>
            <pc:sldMk cId="2845658035" sldId="259"/>
            <ac:graphicFrameMk id="109" creationId="{65482CEC-C32B-4B3F-9077-CF5468FDF5E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3:07.065" v="36910"/>
          <ac:graphicFrameMkLst>
            <pc:docMk/>
            <pc:sldMk cId="2845658035" sldId="259"/>
            <ac:graphicFrameMk id="110" creationId="{DC303F12-FC4A-48AD-B957-5309FE52541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3:09.198" v="36964"/>
          <ac:graphicFrameMkLst>
            <pc:docMk/>
            <pc:sldMk cId="2845658035" sldId="259"/>
            <ac:graphicFrameMk id="111" creationId="{BAEDC3CE-2192-4D65-8314-50344B8FC0A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46.175" v="39551"/>
          <ac:graphicFrameMkLst>
            <pc:docMk/>
            <pc:sldMk cId="2845658035" sldId="259"/>
            <ac:graphicFrameMk id="112" creationId="{DB6954F5-14B8-4FC5-9621-9DD9B99C65E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46.175" v="39551"/>
          <ac:graphicFrameMkLst>
            <pc:docMk/>
            <pc:sldMk cId="2845658035" sldId="259"/>
            <ac:graphicFrameMk id="113" creationId="{6C9ABE12-C898-4213-A812-168689FFA7B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46.248" v="39573"/>
          <ac:graphicFrameMkLst>
            <pc:docMk/>
            <pc:sldMk cId="2845658035" sldId="259"/>
            <ac:graphicFrameMk id="114" creationId="{22A57E40-8D08-4E6F-8F5C-BFDE9C4C3D20}"/>
          </ac:graphicFrameMkLst>
        </pc:graphicFrameChg>
        <pc:graphicFrameChg chg="add mod ord">
          <ac:chgData name="Ugo MANTEL" userId="2d5b7065-31bb-4181-a7f8-a73bf0c30211" providerId="ADAL" clId="{287A013E-B4BE-485E-AE94-C2936752CD18}" dt="2020-09-17T12:53:19.234" v="37381"/>
          <ac:graphicFrameMkLst>
            <pc:docMk/>
            <pc:sldMk cId="2845658035" sldId="259"/>
            <ac:graphicFrameMk id="115" creationId="{BAE97C6F-41C1-415E-AC47-F5C8364CA17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3:31.785" v="37796"/>
          <ac:graphicFrameMkLst>
            <pc:docMk/>
            <pc:sldMk cId="2845658035" sldId="259"/>
            <ac:graphicFrameMk id="116" creationId="{4641D915-2E51-4C0D-A85F-1786496A36B7}"/>
          </ac:graphicFrameMkLst>
        </pc:graphicFrameChg>
        <pc:graphicFrameChg chg="add mod ord">
          <ac:chgData name="Ugo MANTEL" userId="2d5b7065-31bb-4181-a7f8-a73bf0c30211" providerId="ADAL" clId="{287A013E-B4BE-485E-AE94-C2936752CD18}" dt="2020-09-17T12:53:31.785" v="37796"/>
          <ac:graphicFrameMkLst>
            <pc:docMk/>
            <pc:sldMk cId="2845658035" sldId="259"/>
            <ac:graphicFrameMk id="117" creationId="{F4FC58D8-BC44-4B25-9F7B-49627FD1FCA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46.411" v="39579" actId="478"/>
          <ac:graphicFrameMkLst>
            <pc:docMk/>
            <pc:sldMk cId="2845658035" sldId="259"/>
            <ac:graphicFrameMk id="118" creationId="{6D36345D-0AC4-41B5-B494-55F99A82E8B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46.421" v="39597" actId="478"/>
          <ac:graphicFrameMkLst>
            <pc:docMk/>
            <pc:sldMk cId="2845658035" sldId="259"/>
            <ac:graphicFrameMk id="119" creationId="{FF5B03B5-B09F-46A7-BCBA-C2BD7579EDF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46.430" v="39615" actId="478"/>
          <ac:graphicFrameMkLst>
            <pc:docMk/>
            <pc:sldMk cId="2845658035" sldId="259"/>
            <ac:graphicFrameMk id="120" creationId="{4C806C60-2940-4FDD-8CAB-B95C4FEA8C9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46.439" v="39633" actId="478"/>
          <ac:graphicFrameMkLst>
            <pc:docMk/>
            <pc:sldMk cId="2845658035" sldId="259"/>
            <ac:graphicFrameMk id="121" creationId="{69CD4634-D95A-47EB-A287-AD23CDABC71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46.448" v="39651" actId="478"/>
          <ac:graphicFrameMkLst>
            <pc:docMk/>
            <pc:sldMk cId="2845658035" sldId="259"/>
            <ac:graphicFrameMk id="122" creationId="{15D346C5-C2F2-45DE-B6F9-18452FB6A53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46.685" v="39745"/>
          <ac:graphicFrameMkLst>
            <pc:docMk/>
            <pc:sldMk cId="2845658035" sldId="259"/>
            <ac:graphicFrameMk id="123" creationId="{62DA9850-7B57-41DE-B2CE-2C3CA130A3C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46.685" v="39745"/>
          <ac:graphicFrameMkLst>
            <pc:docMk/>
            <pc:sldMk cId="2845658035" sldId="259"/>
            <ac:graphicFrameMk id="124" creationId="{C04C3D01-8399-4034-BF09-7C0458159D8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46.685" v="39745"/>
          <ac:graphicFrameMkLst>
            <pc:docMk/>
            <pc:sldMk cId="2845658035" sldId="259"/>
            <ac:graphicFrameMk id="125" creationId="{5C10EA59-F3C4-4E47-B060-B56083B7155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46.685" v="39745"/>
          <ac:graphicFrameMkLst>
            <pc:docMk/>
            <pc:sldMk cId="2845658035" sldId="259"/>
            <ac:graphicFrameMk id="126" creationId="{4EDFB576-A85C-4FD2-983A-894DCF64B10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46.879" v="39774"/>
          <ac:graphicFrameMkLst>
            <pc:docMk/>
            <pc:sldMk cId="2845658035" sldId="259"/>
            <ac:graphicFrameMk id="127" creationId="{7FF7A5ED-2464-4D43-BBBF-752C1168C43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47.386" v="39814"/>
          <ac:graphicFrameMkLst>
            <pc:docMk/>
            <pc:sldMk cId="2845658035" sldId="259"/>
            <ac:graphicFrameMk id="129" creationId="{25905BF6-2608-4071-A26A-EE1F016ED0A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47.386" v="39814"/>
          <ac:graphicFrameMkLst>
            <pc:docMk/>
            <pc:sldMk cId="2845658035" sldId="259"/>
            <ac:graphicFrameMk id="130" creationId="{3A32E3C3-54DA-47C9-9288-C178A3A473E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47.588" v="39843"/>
          <ac:graphicFrameMkLst>
            <pc:docMk/>
            <pc:sldMk cId="2845658035" sldId="259"/>
            <ac:graphicFrameMk id="131" creationId="{9E9BD19E-B764-4387-9506-6B9372718E6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48.259" v="39866"/>
          <ac:graphicFrameMkLst>
            <pc:docMk/>
            <pc:sldMk cId="2845658035" sldId="259"/>
            <ac:graphicFrameMk id="133" creationId="{2A1CB918-BB9A-4254-8756-C75C5A316BE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50.419" v="39954"/>
          <ac:graphicFrameMkLst>
            <pc:docMk/>
            <pc:sldMk cId="2845658035" sldId="259"/>
            <ac:graphicFrameMk id="134" creationId="{F8962415-9AB0-4288-AF5B-44878A1B3F01}"/>
          </ac:graphicFrameMkLst>
        </pc:graphicFrameChg>
        <pc:graphicFrameChg chg="add mod ord">
          <ac:chgData name="Ugo MANTEL" userId="2d5b7065-31bb-4181-a7f8-a73bf0c30211" providerId="ADAL" clId="{287A013E-B4BE-485E-AE94-C2936752CD18}" dt="2020-09-17T12:54:40.578" v="38814" actId="1076"/>
          <ac:graphicFrameMkLst>
            <pc:docMk/>
            <pc:sldMk cId="2845658035" sldId="259"/>
            <ac:graphicFrameMk id="135" creationId="{DA1B7252-4696-4346-B839-6B03BE44A6B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51.241" v="40011"/>
          <ac:graphicFrameMkLst>
            <pc:docMk/>
            <pc:sldMk cId="2845658035" sldId="259"/>
            <ac:graphicFrameMk id="136" creationId="{3D4A96B6-FC20-47CF-9616-C0B9F6645BD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57.091" v="40068"/>
          <ac:graphicFrameMkLst>
            <pc:docMk/>
            <pc:sldMk cId="2845658035" sldId="259"/>
            <ac:graphicFrameMk id="137" creationId="{135C09C7-71EC-4D39-B205-2324FD67A25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4:57.362" v="40134"/>
          <ac:graphicFrameMkLst>
            <pc:docMk/>
            <pc:sldMk cId="2845658035" sldId="259"/>
            <ac:graphicFrameMk id="138" creationId="{86F12394-03AF-4E8F-8EC9-89AD897DAE2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5:01.217" v="40189"/>
          <ac:graphicFrameMkLst>
            <pc:docMk/>
            <pc:sldMk cId="2845658035" sldId="259"/>
            <ac:graphicFrameMk id="139" creationId="{9643F2DF-F67B-42E1-9278-9F9862111B0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5:01.570" v="40253"/>
          <ac:graphicFrameMkLst>
            <pc:docMk/>
            <pc:sldMk cId="2845658035" sldId="259"/>
            <ac:graphicFrameMk id="140" creationId="{AF4B6BE3-9500-40AA-84EF-7C80B19B7DE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5:03.673" v="40307"/>
          <ac:graphicFrameMkLst>
            <pc:docMk/>
            <pc:sldMk cId="2845658035" sldId="259"/>
            <ac:graphicFrameMk id="141" creationId="{518168F0-4C42-423C-86FF-1C0A9A63BEF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5:07.840" v="40361"/>
          <ac:graphicFrameMkLst>
            <pc:docMk/>
            <pc:sldMk cId="2845658035" sldId="259"/>
            <ac:graphicFrameMk id="142" creationId="{507FB8D7-8B1E-4679-8F35-3C407165D68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5:08.469" v="40431"/>
          <ac:graphicFrameMkLst>
            <pc:docMk/>
            <pc:sldMk cId="2845658035" sldId="259"/>
            <ac:graphicFrameMk id="143" creationId="{29198CE2-107F-4A0B-9D29-1FC4BC5D0C5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5:11.580" v="40486"/>
          <ac:graphicFrameMkLst>
            <pc:docMk/>
            <pc:sldMk cId="2845658035" sldId="259"/>
            <ac:graphicFrameMk id="145" creationId="{20C8A032-DB93-4AE6-B09B-FDE137CF352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5:11.854" v="40549"/>
          <ac:graphicFrameMkLst>
            <pc:docMk/>
            <pc:sldMk cId="2845658035" sldId="259"/>
            <ac:graphicFrameMk id="146" creationId="{5A067F56-7B96-4606-8ED1-CF93BC72054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17T12:55:28.014" v="40747"/>
          <ac:graphicFrameMkLst>
            <pc:docMk/>
            <pc:sldMk cId="2845658035" sldId="259"/>
            <ac:graphicFrameMk id="147" creationId="{0098B251-E20A-414E-AF41-4C0456AF6A2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1:46:00.495" v="40972"/>
          <ac:graphicFrameMkLst>
            <pc:docMk/>
            <pc:sldMk cId="2845658035" sldId="259"/>
            <ac:graphicFrameMk id="148" creationId="{A85E1795-7FAB-478E-A87D-1578F95E49F2}"/>
          </ac:graphicFrameMkLst>
        </pc:graphicFrameChg>
        <pc:cxnChg chg="del mod ord">
          <ac:chgData name="Ugo MANTEL" userId="2d5b7065-31bb-4181-a7f8-a73bf0c30211" providerId="ADAL" clId="{287A013E-B4BE-485E-AE94-C2936752CD18}" dt="2020-09-17T12:47:41.480" v="34992"/>
          <ac:cxnSpMkLst>
            <pc:docMk/>
            <pc:sldMk cId="2845658035" sldId="259"/>
            <ac:cxnSpMk id="4" creationId="{AE69C7FE-B306-4E03-8A12-629329FE6434}"/>
          </ac:cxnSpMkLst>
        </pc:cxnChg>
        <pc:cxnChg chg="add del mod ord">
          <ac:chgData name="Ugo MANTEL" userId="2d5b7065-31bb-4181-a7f8-a73bf0c30211" providerId="ADAL" clId="{287A013E-B4BE-485E-AE94-C2936752CD18}" dt="2020-09-23T15:48:03.856" v="80214"/>
          <ac:cxnSpMkLst>
            <pc:docMk/>
            <pc:sldMk cId="2845658035" sldId="259"/>
            <ac:cxnSpMk id="5" creationId="{1EDEDCEC-71A1-4AC8-A966-913CB97C2871}"/>
          </ac:cxnSpMkLst>
        </pc:cxnChg>
        <pc:cxnChg chg="del mod ord">
          <ac:chgData name="Ugo MANTEL" userId="2d5b7065-31bb-4181-a7f8-a73bf0c30211" providerId="ADAL" clId="{287A013E-B4BE-485E-AE94-C2936752CD18}" dt="2020-09-17T12:47:41.488" v="35002"/>
          <ac:cxnSpMkLst>
            <pc:docMk/>
            <pc:sldMk cId="2845658035" sldId="259"/>
            <ac:cxnSpMk id="5" creationId="{31267229-A759-41B5-B57C-85276F403621}"/>
          </ac:cxnSpMkLst>
        </pc:cxnChg>
        <pc:cxnChg chg="del mod ord">
          <ac:chgData name="Ugo MANTEL" userId="2d5b7065-31bb-4181-a7f8-a73bf0c30211" providerId="ADAL" clId="{287A013E-B4BE-485E-AE94-C2936752CD18}" dt="2020-09-17T12:47:41.479" v="34990"/>
          <ac:cxnSpMkLst>
            <pc:docMk/>
            <pc:sldMk cId="2845658035" sldId="259"/>
            <ac:cxnSpMk id="6" creationId="{8053F143-8075-4B34-B8B8-C33571F2C88A}"/>
          </ac:cxnSpMkLst>
        </pc:cxnChg>
        <pc:cxnChg chg="del mod ord">
          <ac:chgData name="Ugo MANTEL" userId="2d5b7065-31bb-4181-a7f8-a73bf0c30211" providerId="ADAL" clId="{287A013E-B4BE-485E-AE94-C2936752CD18}" dt="2020-09-17T12:47:41.474" v="34985"/>
          <ac:cxnSpMkLst>
            <pc:docMk/>
            <pc:sldMk cId="2845658035" sldId="259"/>
            <ac:cxnSpMk id="7" creationId="{8CC86932-1395-4059-86B8-87E19AB49B34}"/>
          </ac:cxnSpMkLst>
        </pc:cxnChg>
        <pc:cxnChg chg="del mod ord">
          <ac:chgData name="Ugo MANTEL" userId="2d5b7065-31bb-4181-a7f8-a73bf0c30211" providerId="ADAL" clId="{287A013E-B4BE-485E-AE94-C2936752CD18}" dt="2020-09-17T12:47:41.485" v="34998"/>
          <ac:cxnSpMkLst>
            <pc:docMk/>
            <pc:sldMk cId="2845658035" sldId="259"/>
            <ac:cxnSpMk id="8" creationId="{62064129-2E28-40C1-A365-3EAF8D692731}"/>
          </ac:cxnSpMkLst>
        </pc:cxnChg>
        <pc:cxnChg chg="del mod ord">
          <ac:chgData name="Ugo MANTEL" userId="2d5b7065-31bb-4181-a7f8-a73bf0c30211" providerId="ADAL" clId="{287A013E-B4BE-485E-AE94-C2936752CD18}" dt="2020-09-17T12:47:41.482" v="34994"/>
          <ac:cxnSpMkLst>
            <pc:docMk/>
            <pc:sldMk cId="2845658035" sldId="259"/>
            <ac:cxnSpMk id="9" creationId="{41BC0B30-ED35-4001-A1D6-139AF8FB2FD8}"/>
          </ac:cxnSpMkLst>
        </pc:cxnChg>
        <pc:cxnChg chg="del mod ord">
          <ac:chgData name="Ugo MANTEL" userId="2d5b7065-31bb-4181-a7f8-a73bf0c30211" providerId="ADAL" clId="{287A013E-B4BE-485E-AE94-C2936752CD18}" dt="2020-09-17T12:47:41.492" v="35008"/>
          <ac:cxnSpMkLst>
            <pc:docMk/>
            <pc:sldMk cId="2845658035" sldId="259"/>
            <ac:cxnSpMk id="10" creationId="{921D8B75-C883-4944-B136-358BD997DDA3}"/>
          </ac:cxnSpMkLst>
        </pc:cxnChg>
        <pc:cxnChg chg="del mod ord">
          <ac:chgData name="Ugo MANTEL" userId="2d5b7065-31bb-4181-a7f8-a73bf0c30211" providerId="ADAL" clId="{287A013E-B4BE-485E-AE94-C2936752CD18}" dt="2020-09-17T12:47:41.478" v="34988"/>
          <ac:cxnSpMkLst>
            <pc:docMk/>
            <pc:sldMk cId="2845658035" sldId="259"/>
            <ac:cxnSpMk id="11" creationId="{985DF3CB-9384-404E-AB5A-ABDC96776C30}"/>
          </ac:cxnSpMkLst>
        </pc:cxnChg>
        <pc:cxnChg chg="del mod ord">
          <ac:chgData name="Ugo MANTEL" userId="2d5b7065-31bb-4181-a7f8-a73bf0c30211" providerId="ADAL" clId="{287A013E-B4BE-485E-AE94-C2936752CD18}" dt="2020-09-17T12:47:41.491" v="35006"/>
          <ac:cxnSpMkLst>
            <pc:docMk/>
            <pc:sldMk cId="2845658035" sldId="259"/>
            <ac:cxnSpMk id="12" creationId="{660FA607-6CB1-4897-98EF-EBA7EAD6C283}"/>
          </ac:cxnSpMkLst>
        </pc:cxnChg>
        <pc:cxnChg chg="del mod ord">
          <ac:chgData name="Ugo MANTEL" userId="2d5b7065-31bb-4181-a7f8-a73bf0c30211" providerId="ADAL" clId="{287A013E-B4BE-485E-AE94-C2936752CD18}" dt="2020-09-17T12:47:41.483" v="34996"/>
          <ac:cxnSpMkLst>
            <pc:docMk/>
            <pc:sldMk cId="2845658035" sldId="259"/>
            <ac:cxnSpMk id="13" creationId="{7E64383D-B260-4ED8-A534-94181DD7FFF2}"/>
          </ac:cxnSpMkLst>
        </pc:cxnChg>
        <pc:cxnChg chg="del mod ord">
          <ac:chgData name="Ugo MANTEL" userId="2d5b7065-31bb-4181-a7f8-a73bf0c30211" providerId="ADAL" clId="{287A013E-B4BE-485E-AE94-C2936752CD18}" dt="2020-09-17T12:47:41.487" v="35000"/>
          <ac:cxnSpMkLst>
            <pc:docMk/>
            <pc:sldMk cId="2845658035" sldId="259"/>
            <ac:cxnSpMk id="14" creationId="{DB88B253-97A1-48F6-AD5F-D88ADB388518}"/>
          </ac:cxnSpMkLst>
        </pc:cxnChg>
        <pc:cxnChg chg="del mod ord">
          <ac:chgData name="Ugo MANTEL" userId="2d5b7065-31bb-4181-a7f8-a73bf0c30211" providerId="ADAL" clId="{287A013E-B4BE-485E-AE94-C2936752CD18}" dt="2020-09-17T12:47:41.489" v="35004"/>
          <ac:cxnSpMkLst>
            <pc:docMk/>
            <pc:sldMk cId="2845658035" sldId="259"/>
            <ac:cxnSpMk id="15" creationId="{C458EA12-4C08-42D5-85F6-D0BBEC493261}"/>
          </ac:cxnSpMkLst>
        </pc:cxnChg>
        <pc:cxnChg chg="add del mod ord">
          <ac:chgData name="Ugo MANTEL" userId="2d5b7065-31bb-4181-a7f8-a73bf0c30211" providerId="ADAL" clId="{287A013E-B4BE-485E-AE94-C2936752CD18}" dt="2020-09-17T12:47:41.454" v="34962"/>
          <ac:cxnSpMkLst>
            <pc:docMk/>
            <pc:sldMk cId="2845658035" sldId="259"/>
            <ac:cxnSpMk id="16" creationId="{E4AA1572-895B-462A-B3EE-5CB6E69793B6}"/>
          </ac:cxnSpMkLst>
        </pc:cxnChg>
        <pc:cxnChg chg="add del mod ord">
          <ac:chgData name="Ugo MANTEL" userId="2d5b7065-31bb-4181-a7f8-a73bf0c30211" providerId="ADAL" clId="{287A013E-B4BE-485E-AE94-C2936752CD18}" dt="2020-09-17T12:47:41.467" v="34974"/>
          <ac:cxnSpMkLst>
            <pc:docMk/>
            <pc:sldMk cId="2845658035" sldId="259"/>
            <ac:cxnSpMk id="17" creationId="{64D419D7-BBCC-4013-9344-EB52C3FEFE9F}"/>
          </ac:cxnSpMkLst>
        </pc:cxnChg>
        <pc:cxnChg chg="add del mod ord">
          <ac:chgData name="Ugo MANTEL" userId="2d5b7065-31bb-4181-a7f8-a73bf0c30211" providerId="ADAL" clId="{287A013E-B4BE-485E-AE94-C2936752CD18}" dt="2020-09-17T12:52:26.614" v="36585"/>
          <ac:cxnSpMkLst>
            <pc:docMk/>
            <pc:sldMk cId="2845658035" sldId="259"/>
            <ac:cxnSpMk id="18" creationId="{8CEB0FA6-F296-4541-87D0-760F681C49CE}"/>
          </ac:cxnSpMkLst>
        </pc:cxnChg>
        <pc:cxnChg chg="add mod ord">
          <ac:chgData name="Ugo MANTEL" userId="2d5b7065-31bb-4181-a7f8-a73bf0c30211" providerId="ADAL" clId="{287A013E-B4BE-485E-AE94-C2936752CD18}" dt="2020-09-28T17:47:47.529" v="90911"/>
          <ac:cxnSpMkLst>
            <pc:docMk/>
            <pc:sldMk cId="2845658035" sldId="259"/>
            <ac:cxnSpMk id="19" creationId="{717BD74F-C2CE-4695-825B-C98607B7AAEC}"/>
          </ac:cxnSpMkLst>
        </pc:cxnChg>
        <pc:cxnChg chg="add mod ord">
          <ac:chgData name="Ugo MANTEL" userId="2d5b7065-31bb-4181-a7f8-a73bf0c30211" providerId="ADAL" clId="{287A013E-B4BE-485E-AE94-C2936752CD18}" dt="2020-09-28T17:47:47.530" v="90913"/>
          <ac:cxnSpMkLst>
            <pc:docMk/>
            <pc:sldMk cId="2845658035" sldId="259"/>
            <ac:cxnSpMk id="20" creationId="{3A46CCEE-C924-409E-8B22-1FDA2BDF16FF}"/>
          </ac:cxnSpMkLst>
        </pc:cxnChg>
        <pc:cxnChg chg="add mod ord">
          <ac:chgData name="Ugo MANTEL" userId="2d5b7065-31bb-4181-a7f8-a73bf0c30211" providerId="ADAL" clId="{287A013E-B4BE-485E-AE94-C2936752CD18}" dt="2020-09-28T17:47:47.531" v="90915"/>
          <ac:cxnSpMkLst>
            <pc:docMk/>
            <pc:sldMk cId="2845658035" sldId="259"/>
            <ac:cxnSpMk id="21" creationId="{018ACEB0-AF3E-45B6-868C-167A218ABA13}"/>
          </ac:cxnSpMkLst>
        </pc:cxnChg>
        <pc:cxnChg chg="add mod ord">
          <ac:chgData name="Ugo MANTEL" userId="2d5b7065-31bb-4181-a7f8-a73bf0c30211" providerId="ADAL" clId="{287A013E-B4BE-485E-AE94-C2936752CD18}" dt="2020-09-28T17:47:47.533" v="90919"/>
          <ac:cxnSpMkLst>
            <pc:docMk/>
            <pc:sldMk cId="2845658035" sldId="259"/>
            <ac:cxnSpMk id="22" creationId="{4173AED3-29CC-4F4A-B8B0-6B86E5D40959}"/>
          </ac:cxnSpMkLst>
        </pc:cxnChg>
        <pc:cxnChg chg="add mod ord">
          <ac:chgData name="Ugo MANTEL" userId="2d5b7065-31bb-4181-a7f8-a73bf0c30211" providerId="ADAL" clId="{287A013E-B4BE-485E-AE94-C2936752CD18}" dt="2020-09-28T17:47:47.534" v="90921"/>
          <ac:cxnSpMkLst>
            <pc:docMk/>
            <pc:sldMk cId="2845658035" sldId="259"/>
            <ac:cxnSpMk id="23" creationId="{C9A5551A-D2F8-4A30-801B-B12FF7F0961E}"/>
          </ac:cxnSpMkLst>
        </pc:cxnChg>
        <pc:cxnChg chg="add mod ord">
          <ac:chgData name="Ugo MANTEL" userId="2d5b7065-31bb-4181-a7f8-a73bf0c30211" providerId="ADAL" clId="{287A013E-B4BE-485E-AE94-C2936752CD18}" dt="2020-09-28T17:47:47.535" v="90923"/>
          <ac:cxnSpMkLst>
            <pc:docMk/>
            <pc:sldMk cId="2845658035" sldId="259"/>
            <ac:cxnSpMk id="24" creationId="{DAC76BFC-C0C7-43E6-8C47-5B82BE1FE8C0}"/>
          </ac:cxnSpMkLst>
        </pc:cxnChg>
        <pc:cxnChg chg="add mod ord">
          <ac:chgData name="Ugo MANTEL" userId="2d5b7065-31bb-4181-a7f8-a73bf0c30211" providerId="ADAL" clId="{287A013E-B4BE-485E-AE94-C2936752CD18}" dt="2020-09-28T17:47:47.532" v="90917"/>
          <ac:cxnSpMkLst>
            <pc:docMk/>
            <pc:sldMk cId="2845658035" sldId="259"/>
            <ac:cxnSpMk id="25" creationId="{5484EB71-66AA-4CC7-A1CE-CE17BB88EE96}"/>
          </ac:cxnSpMkLst>
        </pc:cxnChg>
        <pc:cxnChg chg="add mod ord">
          <ac:chgData name="Ugo MANTEL" userId="2d5b7065-31bb-4181-a7f8-a73bf0c30211" providerId="ADAL" clId="{287A013E-B4BE-485E-AE94-C2936752CD18}" dt="2020-09-28T17:47:47.537" v="90925"/>
          <ac:cxnSpMkLst>
            <pc:docMk/>
            <pc:sldMk cId="2845658035" sldId="259"/>
            <ac:cxnSpMk id="26" creationId="{A93180D1-0329-4BD7-89FB-1D3C7322242E}"/>
          </ac:cxnSpMkLst>
        </pc:cxnChg>
        <pc:cxnChg chg="del mod ord">
          <ac:chgData name="Ugo MANTEL" userId="2d5b7065-31bb-4181-a7f8-a73bf0c30211" providerId="ADAL" clId="{287A013E-B4BE-485E-AE94-C2936752CD18}" dt="2020-09-17T12:47:41.450" v="34956"/>
          <ac:cxnSpMkLst>
            <pc:docMk/>
            <pc:sldMk cId="2845658035" sldId="259"/>
            <ac:cxnSpMk id="27" creationId="{AFF0B8F1-CA42-46B3-A1F6-72079A7B0D28}"/>
          </ac:cxnSpMkLst>
        </pc:cxnChg>
        <pc:cxnChg chg="del mod ord">
          <ac:chgData name="Ugo MANTEL" userId="2d5b7065-31bb-4181-a7f8-a73bf0c30211" providerId="ADAL" clId="{287A013E-B4BE-485E-AE94-C2936752CD18}" dt="2020-09-17T12:47:41.452" v="34959"/>
          <ac:cxnSpMkLst>
            <pc:docMk/>
            <pc:sldMk cId="2845658035" sldId="259"/>
            <ac:cxnSpMk id="28" creationId="{D4A70354-3411-4330-B0CB-7162769D8411}"/>
          </ac:cxnSpMkLst>
        </pc:cxnChg>
        <pc:cxnChg chg="add del mod ord">
          <ac:chgData name="Ugo MANTEL" userId="2d5b7065-31bb-4181-a7f8-a73bf0c30211" providerId="ADAL" clId="{287A013E-B4BE-485E-AE94-C2936752CD18}" dt="2020-09-17T12:55:01.564" v="40250"/>
          <ac:cxnSpMkLst>
            <pc:docMk/>
            <pc:sldMk cId="2845658035" sldId="259"/>
            <ac:cxnSpMk id="43" creationId="{D817E0C1-957B-4153-B27B-69BC0CA2277A}"/>
          </ac:cxnSpMkLst>
        </pc:cxnChg>
        <pc:cxnChg chg="add del mod ord">
          <ac:chgData name="Ugo MANTEL" userId="2d5b7065-31bb-4181-a7f8-a73bf0c30211" providerId="ADAL" clId="{287A013E-B4BE-485E-AE94-C2936752CD18}" dt="2020-09-17T12:54:57.355" v="40127"/>
          <ac:cxnSpMkLst>
            <pc:docMk/>
            <pc:sldMk cId="2845658035" sldId="259"/>
            <ac:cxnSpMk id="45" creationId="{742C3C04-EE13-4669-B169-859EE958ED78}"/>
          </ac:cxnSpMkLst>
        </pc:cxnChg>
        <pc:cxnChg chg="add del mod ord">
          <ac:chgData name="Ugo MANTEL" userId="2d5b7065-31bb-4181-a7f8-a73bf0c30211" providerId="ADAL" clId="{287A013E-B4BE-485E-AE94-C2936752CD18}" dt="2020-09-17T12:55:11.844" v="40546"/>
          <ac:cxnSpMkLst>
            <pc:docMk/>
            <pc:sldMk cId="2845658035" sldId="259"/>
            <ac:cxnSpMk id="46" creationId="{438BAAA8-E3C1-4767-BF17-AF82F34222F7}"/>
          </ac:cxnSpMkLst>
        </pc:cxnChg>
        <pc:cxnChg chg="del mod ord">
          <ac:chgData name="Ugo MANTEL" userId="2d5b7065-31bb-4181-a7f8-a73bf0c30211" providerId="ADAL" clId="{287A013E-B4BE-485E-AE94-C2936752CD18}" dt="2020-09-17T12:47:41.457" v="34965"/>
          <ac:cxnSpMkLst>
            <pc:docMk/>
            <pc:sldMk cId="2845658035" sldId="259"/>
            <ac:cxnSpMk id="48" creationId="{7AEE2A3D-8E34-47ED-A744-162D7F6FF665}"/>
          </ac:cxnSpMkLst>
        </pc:cxnChg>
        <pc:cxnChg chg="del mod ord">
          <ac:chgData name="Ugo MANTEL" userId="2d5b7065-31bb-4181-a7f8-a73bf0c30211" providerId="ADAL" clId="{287A013E-B4BE-485E-AE94-C2936752CD18}" dt="2020-09-17T12:47:41.462" v="34968"/>
          <ac:cxnSpMkLst>
            <pc:docMk/>
            <pc:sldMk cId="2845658035" sldId="259"/>
            <ac:cxnSpMk id="49" creationId="{62D9085D-E074-4287-9CB1-C0A337A374E8}"/>
          </ac:cxnSpMkLst>
        </pc:cxnChg>
        <pc:cxnChg chg="del mod ord">
          <ac:chgData name="Ugo MANTEL" userId="2d5b7065-31bb-4181-a7f8-a73bf0c30211" providerId="ADAL" clId="{287A013E-B4BE-485E-AE94-C2936752CD18}" dt="2020-09-17T12:47:41.465" v="34971"/>
          <ac:cxnSpMkLst>
            <pc:docMk/>
            <pc:sldMk cId="2845658035" sldId="259"/>
            <ac:cxnSpMk id="50" creationId="{96AD1A1B-4041-4EFF-AF08-BEAC86A7C476}"/>
          </ac:cxnSpMkLst>
        </pc:cxnChg>
        <pc:cxnChg chg="del mod ord">
          <ac:chgData name="Ugo MANTEL" userId="2d5b7065-31bb-4181-a7f8-a73bf0c30211" providerId="ADAL" clId="{287A013E-B4BE-485E-AE94-C2936752CD18}" dt="2020-09-17T12:47:41.468" v="34977"/>
          <ac:cxnSpMkLst>
            <pc:docMk/>
            <pc:sldMk cId="2845658035" sldId="259"/>
            <ac:cxnSpMk id="55" creationId="{DC392ED1-FF98-4357-80E3-B092B35EC892}"/>
          </ac:cxnSpMkLst>
        </pc:cxnChg>
        <pc:cxnChg chg="del mod ord">
          <ac:chgData name="Ugo MANTEL" userId="2d5b7065-31bb-4181-a7f8-a73bf0c30211" providerId="ADAL" clId="{287A013E-B4BE-485E-AE94-C2936752CD18}" dt="2020-09-17T12:47:41.470" v="34980"/>
          <ac:cxnSpMkLst>
            <pc:docMk/>
            <pc:sldMk cId="2845658035" sldId="259"/>
            <ac:cxnSpMk id="65" creationId="{25DAF424-2142-44D7-929C-3F9158F27E56}"/>
          </ac:cxnSpMkLst>
        </pc:cxnChg>
        <pc:cxnChg chg="del mod ord">
          <ac:chgData name="Ugo MANTEL" userId="2d5b7065-31bb-4181-a7f8-a73bf0c30211" providerId="ADAL" clId="{287A013E-B4BE-485E-AE94-C2936752CD18}" dt="2020-09-17T12:47:41.472" v="34983"/>
          <ac:cxnSpMkLst>
            <pc:docMk/>
            <pc:sldMk cId="2845658035" sldId="259"/>
            <ac:cxnSpMk id="68" creationId="{EC9B605C-27F3-4ECE-9C8E-8D5F8CB12AAB}"/>
          </ac:cxnSpMkLst>
        </pc:cxnChg>
        <pc:cxnChg chg="del mod ord">
          <ac:chgData name="Ugo MANTEL" userId="2d5b7065-31bb-4181-a7f8-a73bf0c30211" providerId="ADAL" clId="{287A013E-B4BE-485E-AE94-C2936752CD18}" dt="2020-09-17T12:47:41.448" v="34953"/>
          <ac:cxnSpMkLst>
            <pc:docMk/>
            <pc:sldMk cId="2845658035" sldId="259"/>
            <ac:cxnSpMk id="186" creationId="{D50359F6-228C-411C-A49B-4FA415B15229}"/>
          </ac:cxnSpMkLst>
        </pc:cxnChg>
      </pc:sldChg>
      <pc:sldChg chg="addSp delSp modSp add mod">
        <pc:chgData name="Ugo MANTEL" userId="2d5b7065-31bb-4181-a7f8-a73bf0c30211" providerId="ADAL" clId="{287A013E-B4BE-485E-AE94-C2936752CD18}" dt="2020-10-12T10:03:51.935" v="114777"/>
        <pc:sldMkLst>
          <pc:docMk/>
          <pc:sldMk cId="704880795" sldId="260"/>
        </pc:sldMkLst>
        <pc:spChg chg="mod">
          <ac:chgData name="Ugo MANTEL" userId="2d5b7065-31bb-4181-a7f8-a73bf0c30211" providerId="ADAL" clId="{287A013E-B4BE-485E-AE94-C2936752CD18}" dt="2020-10-12T10:03:51.710" v="114523"/>
          <ac:spMkLst>
            <pc:docMk/>
            <pc:sldMk cId="704880795" sldId="260"/>
            <ac:spMk id="2" creationId="{5FB7E987-01B8-492B-B78E-0EA088CC8C8A}"/>
          </ac:spMkLst>
        </pc:spChg>
        <pc:spChg chg="mod ord">
          <ac:chgData name="Ugo MANTEL" userId="2d5b7065-31bb-4181-a7f8-a73bf0c30211" providerId="ADAL" clId="{287A013E-B4BE-485E-AE94-C2936752CD18}" dt="2020-10-12T10:03:51.711" v="114525"/>
          <ac:spMkLst>
            <pc:docMk/>
            <pc:sldMk cId="704880795" sldId="260"/>
            <ac:spMk id="3" creationId="{B6CB9626-71CD-4BA3-B2F8-3277490C0DFB}"/>
          </ac:spMkLst>
        </pc:spChg>
        <pc:spChg chg="add del mod">
          <ac:chgData name="Ugo MANTEL" userId="2d5b7065-31bb-4181-a7f8-a73bf0c30211" providerId="ADAL" clId="{287A013E-B4BE-485E-AE94-C2936752CD18}" dt="2020-09-21T16:41:43.467" v="45922"/>
          <ac:spMkLst>
            <pc:docMk/>
            <pc:sldMk cId="704880795" sldId="260"/>
            <ac:spMk id="10" creationId="{3B5B9205-E3B6-42DF-ACB3-B35B8C12FEAE}"/>
          </ac:spMkLst>
        </pc:spChg>
        <pc:spChg chg="add del mod">
          <ac:chgData name="Ugo MANTEL" userId="2d5b7065-31bb-4181-a7f8-a73bf0c30211" providerId="ADAL" clId="{287A013E-B4BE-485E-AE94-C2936752CD18}" dt="2020-09-21T16:41:43.484" v="45983"/>
          <ac:spMkLst>
            <pc:docMk/>
            <pc:sldMk cId="704880795" sldId="260"/>
            <ac:spMk id="27" creationId="{6FAE7955-4D89-4956-AED6-C7245B038F3E}"/>
          </ac:spMkLst>
        </pc:spChg>
        <pc:spChg chg="add del mod">
          <ac:chgData name="Ugo MANTEL" userId="2d5b7065-31bb-4181-a7f8-a73bf0c30211" providerId="ADAL" clId="{287A013E-B4BE-485E-AE94-C2936752CD18}" dt="2020-09-21T16:53:11.059" v="47266"/>
          <ac:spMkLst>
            <pc:docMk/>
            <pc:sldMk cId="704880795" sldId="260"/>
            <ac:spMk id="32" creationId="{0FB07218-4B3E-4E69-B3A1-F157039F687E}"/>
          </ac:spMkLst>
        </pc:spChg>
        <pc:spChg chg="del mod">
          <ac:chgData name="Ugo MANTEL" userId="2d5b7065-31bb-4181-a7f8-a73bf0c30211" providerId="ADAL" clId="{287A013E-B4BE-485E-AE94-C2936752CD18}" dt="2020-09-21T16:41:23.405" v="41490"/>
          <ac:spMkLst>
            <pc:docMk/>
            <pc:sldMk cId="704880795" sldId="260"/>
            <ac:spMk id="33" creationId="{D92FE710-135A-407E-8354-75DAD1788C01}"/>
          </ac:spMkLst>
        </pc:spChg>
        <pc:spChg chg="del mod">
          <ac:chgData name="Ugo MANTEL" userId="2d5b7065-31bb-4181-a7f8-a73bf0c30211" providerId="ADAL" clId="{287A013E-B4BE-485E-AE94-C2936752CD18}" dt="2020-09-21T16:41:23.405" v="41491"/>
          <ac:spMkLst>
            <pc:docMk/>
            <pc:sldMk cId="704880795" sldId="260"/>
            <ac:spMk id="34" creationId="{3AFD102E-189B-4EAD-841E-B092FEBE39A7}"/>
          </ac:spMkLst>
        </pc:spChg>
        <pc:spChg chg="del mod">
          <ac:chgData name="Ugo MANTEL" userId="2d5b7065-31bb-4181-a7f8-a73bf0c30211" providerId="ADAL" clId="{287A013E-B4BE-485E-AE94-C2936752CD18}" dt="2020-09-21T16:41:23.405" v="41492"/>
          <ac:spMkLst>
            <pc:docMk/>
            <pc:sldMk cId="704880795" sldId="260"/>
            <ac:spMk id="35" creationId="{69C9E6B4-12B3-4E4E-B22B-50DDA3CFBDF8}"/>
          </ac:spMkLst>
        </pc:spChg>
        <pc:spChg chg="add mod">
          <ac:chgData name="Ugo MANTEL" userId="2d5b7065-31bb-4181-a7f8-a73bf0c30211" providerId="ADAL" clId="{287A013E-B4BE-485E-AE94-C2936752CD18}" dt="2020-10-12T10:03:51.742" v="114593"/>
          <ac:spMkLst>
            <pc:docMk/>
            <pc:sldMk cId="704880795" sldId="260"/>
            <ac:spMk id="36" creationId="{C819B29B-5BD2-472C-8BC7-6935824FC920}"/>
          </ac:spMkLst>
        </pc:spChg>
        <pc:spChg chg="add mod">
          <ac:chgData name="Ugo MANTEL" userId="2d5b7065-31bb-4181-a7f8-a73bf0c30211" providerId="ADAL" clId="{287A013E-B4BE-485E-AE94-C2936752CD18}" dt="2020-10-12T10:03:51.760" v="114633"/>
          <ac:spMkLst>
            <pc:docMk/>
            <pc:sldMk cId="704880795" sldId="260"/>
            <ac:spMk id="38" creationId="{A6117674-F5C7-4E96-8E94-2214BAE7CE96}"/>
          </ac:spMkLst>
        </pc:spChg>
        <pc:spChg chg="add del mod">
          <ac:chgData name="Ugo MANTEL" userId="2d5b7065-31bb-4181-a7f8-a73bf0c30211" providerId="ADAL" clId="{287A013E-B4BE-485E-AE94-C2936752CD18}" dt="2020-09-21T17:06:53.499" v="61054"/>
          <ac:spMkLst>
            <pc:docMk/>
            <pc:sldMk cId="704880795" sldId="260"/>
            <ac:spMk id="39" creationId="{BB6EC3FD-A192-4CD0-8B72-930ED380A048}"/>
          </ac:spMkLst>
        </pc:spChg>
        <pc:spChg chg="add del mod">
          <ac:chgData name="Ugo MANTEL" userId="2d5b7065-31bb-4181-a7f8-a73bf0c30211" providerId="ADAL" clId="{287A013E-B4BE-485E-AE94-C2936752CD18}" dt="2020-09-21T17:06:53.500" v="61057"/>
          <ac:spMkLst>
            <pc:docMk/>
            <pc:sldMk cId="704880795" sldId="260"/>
            <ac:spMk id="40" creationId="{02F5F9C9-3AA8-4EF8-8431-4B023EF68765}"/>
          </ac:spMkLst>
        </pc:spChg>
        <pc:spChg chg="add mod">
          <ac:chgData name="Ugo MANTEL" userId="2d5b7065-31bb-4181-a7f8-a73bf0c30211" providerId="ADAL" clId="{287A013E-B4BE-485E-AE94-C2936752CD18}" dt="2020-10-12T10:03:51.744" v="114598"/>
          <ac:spMkLst>
            <pc:docMk/>
            <pc:sldMk cId="704880795" sldId="260"/>
            <ac:spMk id="41" creationId="{440C7EC8-B70D-4262-AD6E-8F191E94F44A}"/>
          </ac:spMkLst>
        </pc:spChg>
        <pc:spChg chg="mod ord">
          <ac:chgData name="Ugo MANTEL" userId="2d5b7065-31bb-4181-a7f8-a73bf0c30211" providerId="ADAL" clId="{287A013E-B4BE-485E-AE94-C2936752CD18}" dt="2020-10-12T10:03:51.710" v="114522"/>
          <ac:spMkLst>
            <pc:docMk/>
            <pc:sldMk cId="704880795" sldId="260"/>
            <ac:spMk id="42" creationId="{1CDC1D26-5559-48E5-A3EA-95A60632EA3F}"/>
          </ac:spMkLst>
        </pc:spChg>
        <pc:spChg chg="add mod">
          <ac:chgData name="Ugo MANTEL" userId="2d5b7065-31bb-4181-a7f8-a73bf0c30211" providerId="ADAL" clId="{287A013E-B4BE-485E-AE94-C2936752CD18}" dt="2020-10-12T10:03:51.746" v="114605"/>
          <ac:spMkLst>
            <pc:docMk/>
            <pc:sldMk cId="704880795" sldId="260"/>
            <ac:spMk id="43" creationId="{DB090A12-4885-4630-9798-0F510F805F63}"/>
          </ac:spMkLst>
        </pc:spChg>
        <pc:spChg chg="add mod">
          <ac:chgData name="Ugo MANTEL" userId="2d5b7065-31bb-4181-a7f8-a73bf0c30211" providerId="ADAL" clId="{287A013E-B4BE-485E-AE94-C2936752CD18}" dt="2020-10-12T10:03:51.748" v="114608"/>
          <ac:spMkLst>
            <pc:docMk/>
            <pc:sldMk cId="704880795" sldId="260"/>
            <ac:spMk id="45" creationId="{7D7444CA-27C7-485C-81DB-FA02C616A8F9}"/>
          </ac:spMkLst>
        </pc:spChg>
        <pc:spChg chg="add mod">
          <ac:chgData name="Ugo MANTEL" userId="2d5b7065-31bb-4181-a7f8-a73bf0c30211" providerId="ADAL" clId="{287A013E-B4BE-485E-AE94-C2936752CD18}" dt="2020-10-12T10:03:51.752" v="114616"/>
          <ac:spMkLst>
            <pc:docMk/>
            <pc:sldMk cId="704880795" sldId="260"/>
            <ac:spMk id="46" creationId="{37C4A892-C96D-4089-A864-8F09519D4CE9}"/>
          </ac:spMkLst>
        </pc:spChg>
        <pc:spChg chg="add mod">
          <ac:chgData name="Ugo MANTEL" userId="2d5b7065-31bb-4181-a7f8-a73bf0c30211" providerId="ADAL" clId="{287A013E-B4BE-485E-AE94-C2936752CD18}" dt="2020-10-12T10:03:51.742" v="114595"/>
          <ac:spMkLst>
            <pc:docMk/>
            <pc:sldMk cId="704880795" sldId="260"/>
            <ac:spMk id="47" creationId="{1B615CD3-BD7C-461C-856B-CDF30EE87556}"/>
          </ac:spMkLst>
        </pc:spChg>
        <pc:spChg chg="add mod">
          <ac:chgData name="Ugo MANTEL" userId="2d5b7065-31bb-4181-a7f8-a73bf0c30211" providerId="ADAL" clId="{287A013E-B4BE-485E-AE94-C2936752CD18}" dt="2020-10-12T10:03:51.761" v="114637"/>
          <ac:spMkLst>
            <pc:docMk/>
            <pc:sldMk cId="704880795" sldId="260"/>
            <ac:spMk id="48" creationId="{A1A34503-BEE4-49AD-A0A6-24A4A4C105E0}"/>
          </ac:spMkLst>
        </pc:spChg>
        <pc:spChg chg="add mod">
          <ac:chgData name="Ugo MANTEL" userId="2d5b7065-31bb-4181-a7f8-a73bf0c30211" providerId="ADAL" clId="{287A013E-B4BE-485E-AE94-C2936752CD18}" dt="2020-10-12T10:03:51.752" v="114617"/>
          <ac:spMkLst>
            <pc:docMk/>
            <pc:sldMk cId="704880795" sldId="260"/>
            <ac:spMk id="49" creationId="{173F7979-4963-4DE4-A943-A7FE77DA18DC}"/>
          </ac:spMkLst>
        </pc:spChg>
        <pc:spChg chg="add mod">
          <ac:chgData name="Ugo MANTEL" userId="2d5b7065-31bb-4181-a7f8-a73bf0c30211" providerId="ADAL" clId="{287A013E-B4BE-485E-AE94-C2936752CD18}" dt="2020-10-12T10:03:51.755" v="114621"/>
          <ac:spMkLst>
            <pc:docMk/>
            <pc:sldMk cId="704880795" sldId="260"/>
            <ac:spMk id="50" creationId="{D72427FF-C6FE-479E-BEE3-0058257BC7AA}"/>
          </ac:spMkLst>
        </pc:spChg>
        <pc:spChg chg="add mod">
          <ac:chgData name="Ugo MANTEL" userId="2d5b7065-31bb-4181-a7f8-a73bf0c30211" providerId="ADAL" clId="{287A013E-B4BE-485E-AE94-C2936752CD18}" dt="2020-10-12T10:03:51.755" v="114623"/>
          <ac:spMkLst>
            <pc:docMk/>
            <pc:sldMk cId="704880795" sldId="260"/>
            <ac:spMk id="51" creationId="{8438C64D-C6D2-4FFC-8822-367F455ABD5D}"/>
          </ac:spMkLst>
        </pc:spChg>
        <pc:spChg chg="add mod">
          <ac:chgData name="Ugo MANTEL" userId="2d5b7065-31bb-4181-a7f8-a73bf0c30211" providerId="ADAL" clId="{287A013E-B4BE-485E-AE94-C2936752CD18}" dt="2020-10-12T10:03:51.740" v="114589"/>
          <ac:spMkLst>
            <pc:docMk/>
            <pc:sldMk cId="704880795" sldId="260"/>
            <ac:spMk id="52" creationId="{8D58C6F9-7147-491D-B22F-AFD5D1FA2664}"/>
          </ac:spMkLst>
        </pc:spChg>
        <pc:spChg chg="add mod">
          <ac:chgData name="Ugo MANTEL" userId="2d5b7065-31bb-4181-a7f8-a73bf0c30211" providerId="ADAL" clId="{287A013E-B4BE-485E-AE94-C2936752CD18}" dt="2020-10-12T10:03:51.756" v="114624"/>
          <ac:spMkLst>
            <pc:docMk/>
            <pc:sldMk cId="704880795" sldId="260"/>
            <ac:spMk id="53" creationId="{495EC0D1-2C95-4ECC-8818-CB2B6BBB692C}"/>
          </ac:spMkLst>
        </pc:spChg>
        <pc:spChg chg="add del mod">
          <ac:chgData name="Ugo MANTEL" userId="2d5b7065-31bb-4181-a7f8-a73bf0c30211" providerId="ADAL" clId="{287A013E-B4BE-485E-AE94-C2936752CD18}" dt="2020-09-21T17:06:34.455" v="60476"/>
          <ac:spMkLst>
            <pc:docMk/>
            <pc:sldMk cId="704880795" sldId="260"/>
            <ac:spMk id="54" creationId="{15AD65C1-5D89-4D95-8B27-6D8D59984FC4}"/>
          </ac:spMkLst>
        </pc:spChg>
        <pc:spChg chg="add del mod">
          <ac:chgData name="Ugo MANTEL" userId="2d5b7065-31bb-4181-a7f8-a73bf0c30211" providerId="ADAL" clId="{287A013E-B4BE-485E-AE94-C2936752CD18}" dt="2020-09-21T17:06:34.457" v="60480"/>
          <ac:spMkLst>
            <pc:docMk/>
            <pc:sldMk cId="704880795" sldId="260"/>
            <ac:spMk id="55" creationId="{9EFA3E08-1EAD-4637-BDC8-B7FEF7FE8D6D}"/>
          </ac:spMkLst>
        </pc:spChg>
        <pc:spChg chg="add mod">
          <ac:chgData name="Ugo MANTEL" userId="2d5b7065-31bb-4181-a7f8-a73bf0c30211" providerId="ADAL" clId="{287A013E-B4BE-485E-AE94-C2936752CD18}" dt="2020-10-12T10:03:51.756" v="114625"/>
          <ac:spMkLst>
            <pc:docMk/>
            <pc:sldMk cId="704880795" sldId="260"/>
            <ac:spMk id="56" creationId="{38E7A75D-A70B-4A5D-93D6-596AE5D92F11}"/>
          </ac:spMkLst>
        </pc:spChg>
        <pc:spChg chg="add del mod">
          <ac:chgData name="Ugo MANTEL" userId="2d5b7065-31bb-4181-a7f8-a73bf0c30211" providerId="ADAL" clId="{287A013E-B4BE-485E-AE94-C2936752CD18}" dt="2020-09-21T16:41:30.709" v="45224"/>
          <ac:spMkLst>
            <pc:docMk/>
            <pc:sldMk cId="704880795" sldId="260"/>
            <ac:spMk id="57" creationId="{CB8EFE0B-8668-4944-B8D6-192D22DB747A}"/>
          </ac:spMkLst>
        </pc:spChg>
        <pc:spChg chg="add del mod">
          <ac:chgData name="Ugo MANTEL" userId="2d5b7065-31bb-4181-a7f8-a73bf0c30211" providerId="ADAL" clId="{287A013E-B4BE-485E-AE94-C2936752CD18}" dt="2020-09-21T16:41:30.709" v="45225"/>
          <ac:spMkLst>
            <pc:docMk/>
            <pc:sldMk cId="704880795" sldId="260"/>
            <ac:spMk id="58" creationId="{AE7620FA-B1A8-4488-97A3-18A9AF87CCE6}"/>
          </ac:spMkLst>
        </pc:spChg>
        <pc:spChg chg="add del mod ord">
          <ac:chgData name="Ugo MANTEL" userId="2d5b7065-31bb-4181-a7f8-a73bf0c30211" providerId="ADAL" clId="{287A013E-B4BE-485E-AE94-C2936752CD18}" dt="2020-09-21T16:41:30.708" v="45223"/>
          <ac:spMkLst>
            <pc:docMk/>
            <pc:sldMk cId="704880795" sldId="260"/>
            <ac:spMk id="59" creationId="{5A36D859-87DF-4DE7-8F8C-5233A881931F}"/>
          </ac:spMkLst>
        </pc:spChg>
        <pc:spChg chg="add del mod">
          <ac:chgData name="Ugo MANTEL" userId="2d5b7065-31bb-4181-a7f8-a73bf0c30211" providerId="ADAL" clId="{287A013E-B4BE-485E-AE94-C2936752CD18}" dt="2020-09-21T16:41:30.693" v="45203"/>
          <ac:spMkLst>
            <pc:docMk/>
            <pc:sldMk cId="704880795" sldId="260"/>
            <ac:spMk id="60" creationId="{22039034-CAEE-48AB-8E6C-33394E005F8A}"/>
          </ac:spMkLst>
        </pc:spChg>
        <pc:spChg chg="add mod">
          <ac:chgData name="Ugo MANTEL" userId="2d5b7065-31bb-4181-a7f8-a73bf0c30211" providerId="ADAL" clId="{287A013E-B4BE-485E-AE94-C2936752CD18}" dt="2020-10-12T10:03:51.752" v="114615"/>
          <ac:spMkLst>
            <pc:docMk/>
            <pc:sldMk cId="704880795" sldId="260"/>
            <ac:spMk id="61" creationId="{6D78BA14-76CF-4AA2-B9B1-12E00EE02C40}"/>
          </ac:spMkLst>
        </pc:spChg>
        <pc:spChg chg="mod">
          <ac:chgData name="Ugo MANTEL" userId="2d5b7065-31bb-4181-a7f8-a73bf0c30211" providerId="ADAL" clId="{287A013E-B4BE-485E-AE94-C2936752CD18}" dt="2020-10-12T10:03:51.745" v="114602"/>
          <ac:spMkLst>
            <pc:docMk/>
            <pc:sldMk cId="704880795" sldId="260"/>
            <ac:spMk id="62" creationId="{DDA89CF1-ED96-464B-A95D-B2E5C84A9B05}"/>
          </ac:spMkLst>
        </pc:spChg>
        <pc:spChg chg="add mod ord">
          <ac:chgData name="Ugo MANTEL" userId="2d5b7065-31bb-4181-a7f8-a73bf0c30211" providerId="ADAL" clId="{287A013E-B4BE-485E-AE94-C2936752CD18}" dt="2020-10-12T10:03:51.749" v="114610"/>
          <ac:spMkLst>
            <pc:docMk/>
            <pc:sldMk cId="704880795" sldId="260"/>
            <ac:spMk id="63" creationId="{96547454-1D04-4F76-85D3-8AA4EB372CF9}"/>
          </ac:spMkLst>
        </pc:spChg>
        <pc:spChg chg="add mod ord">
          <ac:chgData name="Ugo MANTEL" userId="2d5b7065-31bb-4181-a7f8-a73bf0c30211" providerId="ADAL" clId="{287A013E-B4BE-485E-AE94-C2936752CD18}" dt="2020-10-12T10:03:51.744" v="114600"/>
          <ac:spMkLst>
            <pc:docMk/>
            <pc:sldMk cId="704880795" sldId="260"/>
            <ac:spMk id="64" creationId="{8EF47CEE-CEB6-4087-B038-3BA7834EDD4D}"/>
          </ac:spMkLst>
        </pc:spChg>
        <pc:spChg chg="add mod ord">
          <ac:chgData name="Ugo MANTEL" userId="2d5b7065-31bb-4181-a7f8-a73bf0c30211" providerId="ADAL" clId="{287A013E-B4BE-485E-AE94-C2936752CD18}" dt="2020-10-12T10:03:51.759" v="114631"/>
          <ac:spMkLst>
            <pc:docMk/>
            <pc:sldMk cId="704880795" sldId="260"/>
            <ac:spMk id="65" creationId="{298C5767-35C8-4A49-BA46-1E02CE8A0598}"/>
          </ac:spMkLst>
        </pc:spChg>
        <pc:spChg chg="add mod ord">
          <ac:chgData name="Ugo MANTEL" userId="2d5b7065-31bb-4181-a7f8-a73bf0c30211" providerId="ADAL" clId="{287A013E-B4BE-485E-AE94-C2936752CD18}" dt="2020-10-12T10:03:51.761" v="114635"/>
          <ac:spMkLst>
            <pc:docMk/>
            <pc:sldMk cId="704880795" sldId="260"/>
            <ac:spMk id="66" creationId="{12E119BA-F1A2-481A-9A53-C6D19CE106B3}"/>
          </ac:spMkLst>
        </pc:spChg>
        <pc:spChg chg="add mod ord">
          <ac:chgData name="Ugo MANTEL" userId="2d5b7065-31bb-4181-a7f8-a73bf0c30211" providerId="ADAL" clId="{287A013E-B4BE-485E-AE94-C2936752CD18}" dt="2020-10-12T10:03:51.762" v="114639"/>
          <ac:spMkLst>
            <pc:docMk/>
            <pc:sldMk cId="704880795" sldId="260"/>
            <ac:spMk id="67" creationId="{ABFC4DDF-C4B3-4DD2-B0B2-1DAB45D236BC}"/>
          </ac:spMkLst>
        </pc:spChg>
        <pc:spChg chg="add mod ord">
          <ac:chgData name="Ugo MANTEL" userId="2d5b7065-31bb-4181-a7f8-a73bf0c30211" providerId="ADAL" clId="{287A013E-B4BE-485E-AE94-C2936752CD18}" dt="2020-10-12T10:03:51.762" v="114640"/>
          <ac:spMkLst>
            <pc:docMk/>
            <pc:sldMk cId="704880795" sldId="260"/>
            <ac:spMk id="68" creationId="{F699DDB8-B551-46F7-B466-3D6AA739726C}"/>
          </ac:spMkLst>
        </pc:spChg>
        <pc:spChg chg="mod">
          <ac:chgData name="Ugo MANTEL" userId="2d5b7065-31bb-4181-a7f8-a73bf0c30211" providerId="ADAL" clId="{287A013E-B4BE-485E-AE94-C2936752CD18}" dt="2020-10-12T10:03:51.755" v="114622"/>
          <ac:spMkLst>
            <pc:docMk/>
            <pc:sldMk cId="704880795" sldId="260"/>
            <ac:spMk id="69" creationId="{0DD80383-1195-4C08-B4CC-E4F101EF5A17}"/>
          </ac:spMkLst>
        </pc:spChg>
        <pc:spChg chg="add mod ord">
          <ac:chgData name="Ugo MANTEL" userId="2d5b7065-31bb-4181-a7f8-a73bf0c30211" providerId="ADAL" clId="{287A013E-B4BE-485E-AE94-C2936752CD18}" dt="2020-10-12T10:03:51.741" v="114591"/>
          <ac:spMkLst>
            <pc:docMk/>
            <pc:sldMk cId="704880795" sldId="260"/>
            <ac:spMk id="70" creationId="{DDA7F275-3E91-4672-B746-98CB2DB73E68}"/>
          </ac:spMkLst>
        </pc:spChg>
        <pc:spChg chg="mod">
          <ac:chgData name="Ugo MANTEL" userId="2d5b7065-31bb-4181-a7f8-a73bf0c30211" providerId="ADAL" clId="{287A013E-B4BE-485E-AE94-C2936752CD18}" dt="2020-10-12T10:03:51.758" v="114628"/>
          <ac:spMkLst>
            <pc:docMk/>
            <pc:sldMk cId="704880795" sldId="260"/>
            <ac:spMk id="71" creationId="{89E90AC5-EA49-47F7-B732-9E84FCDD4BA2}"/>
          </ac:spMkLst>
        </pc:spChg>
        <pc:spChg chg="add mod ord">
          <ac:chgData name="Ugo MANTEL" userId="2d5b7065-31bb-4181-a7f8-a73bf0c30211" providerId="ADAL" clId="{287A013E-B4BE-485E-AE94-C2936752CD18}" dt="2020-10-12T10:03:51.754" v="114620"/>
          <ac:spMkLst>
            <pc:docMk/>
            <pc:sldMk cId="704880795" sldId="260"/>
            <ac:spMk id="72" creationId="{5BC2416C-1277-436F-BF4E-FC0F8DA4C2C2}"/>
          </ac:spMkLst>
        </pc:spChg>
        <pc:spChg chg="mod">
          <ac:chgData name="Ugo MANTEL" userId="2d5b7065-31bb-4181-a7f8-a73bf0c30211" providerId="ADAL" clId="{287A013E-B4BE-485E-AE94-C2936752CD18}" dt="2020-10-12T10:03:51.758" v="114629"/>
          <ac:spMkLst>
            <pc:docMk/>
            <pc:sldMk cId="704880795" sldId="260"/>
            <ac:spMk id="73" creationId="{D1D17CF5-4598-473B-9D19-1366DB797309}"/>
          </ac:spMkLst>
        </pc:spChg>
        <pc:spChg chg="add mod">
          <ac:chgData name="Ugo MANTEL" userId="2d5b7065-31bb-4181-a7f8-a73bf0c30211" providerId="ADAL" clId="{287A013E-B4BE-485E-AE94-C2936752CD18}" dt="2020-10-12T10:03:51.742" v="114594"/>
          <ac:spMkLst>
            <pc:docMk/>
            <pc:sldMk cId="704880795" sldId="260"/>
            <ac:spMk id="74" creationId="{3CD5DB7B-0394-4BB0-829E-3BF0C288B5A5}"/>
          </ac:spMkLst>
        </pc:spChg>
        <pc:spChg chg="mod">
          <ac:chgData name="Ugo MANTEL" userId="2d5b7065-31bb-4181-a7f8-a73bf0c30211" providerId="ADAL" clId="{287A013E-B4BE-485E-AE94-C2936752CD18}" dt="2020-10-12T10:03:51.759" v="114632"/>
          <ac:spMkLst>
            <pc:docMk/>
            <pc:sldMk cId="704880795" sldId="260"/>
            <ac:spMk id="75" creationId="{7BE01F4C-A047-4D91-B3E6-1EBF50A89DB2}"/>
          </ac:spMkLst>
        </pc:spChg>
        <pc:spChg chg="add del mod ord">
          <ac:chgData name="Ugo MANTEL" userId="2d5b7065-31bb-4181-a7f8-a73bf0c30211" providerId="ADAL" clId="{287A013E-B4BE-485E-AE94-C2936752CD18}" dt="2020-09-21T17:06:53.492" v="61046"/>
          <ac:spMkLst>
            <pc:docMk/>
            <pc:sldMk cId="704880795" sldId="260"/>
            <ac:spMk id="76" creationId="{5B5D9915-F53D-4E12-BC3D-3080C72C7401}"/>
          </ac:spMkLst>
        </pc:spChg>
        <pc:spChg chg="add del mod ord">
          <ac:chgData name="Ugo MANTEL" userId="2d5b7065-31bb-4181-a7f8-a73bf0c30211" providerId="ADAL" clId="{287A013E-B4BE-485E-AE94-C2936752CD18}" dt="2020-09-21T17:06:53.496" v="61049"/>
          <ac:spMkLst>
            <pc:docMk/>
            <pc:sldMk cId="704880795" sldId="260"/>
            <ac:spMk id="77" creationId="{B9F1BABC-7749-4657-A24C-00E448477DB5}"/>
          </ac:spMkLst>
        </pc:spChg>
        <pc:spChg chg="mod">
          <ac:chgData name="Ugo MANTEL" userId="2d5b7065-31bb-4181-a7f8-a73bf0c30211" providerId="ADAL" clId="{287A013E-B4BE-485E-AE94-C2936752CD18}" dt="2020-10-12T10:03:51.761" v="114636"/>
          <ac:spMkLst>
            <pc:docMk/>
            <pc:sldMk cId="704880795" sldId="260"/>
            <ac:spMk id="78" creationId="{8A55D17A-D6B6-4F77-B657-066C85C70D8B}"/>
          </ac:spMkLst>
        </pc:spChg>
        <pc:spChg chg="mod">
          <ac:chgData name="Ugo MANTEL" userId="2d5b7065-31bb-4181-a7f8-a73bf0c30211" providerId="ADAL" clId="{287A013E-B4BE-485E-AE94-C2936752CD18}" dt="2020-10-12T10:03:51.745" v="114601"/>
          <ac:spMkLst>
            <pc:docMk/>
            <pc:sldMk cId="704880795" sldId="260"/>
            <ac:spMk id="79" creationId="{B71EC7A3-507F-4E0A-89CF-50FEDFCE41DF}"/>
          </ac:spMkLst>
        </pc:spChg>
        <pc:spChg chg="mod">
          <ac:chgData name="Ugo MANTEL" userId="2d5b7065-31bb-4181-a7f8-a73bf0c30211" providerId="ADAL" clId="{287A013E-B4BE-485E-AE94-C2936752CD18}" dt="2020-10-12T10:03:51.764" v="114644"/>
          <ac:spMkLst>
            <pc:docMk/>
            <pc:sldMk cId="704880795" sldId="260"/>
            <ac:spMk id="80" creationId="{8343B1C6-0310-425B-A67D-B1D614E07B90}"/>
          </ac:spMkLst>
        </pc:spChg>
        <pc:spChg chg="add del mod ord">
          <ac:chgData name="Ugo MANTEL" userId="2d5b7065-31bb-4181-a7f8-a73bf0c30211" providerId="ADAL" clId="{287A013E-B4BE-485E-AE94-C2936752CD18}" dt="2020-09-21T16:41:43.436" v="45883"/>
          <ac:spMkLst>
            <pc:docMk/>
            <pc:sldMk cId="704880795" sldId="260"/>
            <ac:spMk id="81" creationId="{729BE7A7-3872-49A9-9740-5C6BDC19F483}"/>
          </ac:spMkLst>
        </pc:spChg>
        <pc:spChg chg="add del mod">
          <ac:chgData name="Ugo MANTEL" userId="2d5b7065-31bb-4181-a7f8-a73bf0c30211" providerId="ADAL" clId="{287A013E-B4BE-485E-AE94-C2936752CD18}" dt="2020-09-21T16:41:30.694" v="45206"/>
          <ac:spMkLst>
            <pc:docMk/>
            <pc:sldMk cId="704880795" sldId="260"/>
            <ac:spMk id="82" creationId="{E9F15EEF-9121-401F-837C-A2CA26B0AC4E}"/>
          </ac:spMkLst>
        </pc:spChg>
        <pc:spChg chg="add mod">
          <ac:chgData name="Ugo MANTEL" userId="2d5b7065-31bb-4181-a7f8-a73bf0c30211" providerId="ADAL" clId="{287A013E-B4BE-485E-AE94-C2936752CD18}" dt="2020-10-12T10:03:51.745" v="114603"/>
          <ac:spMkLst>
            <pc:docMk/>
            <pc:sldMk cId="704880795" sldId="260"/>
            <ac:spMk id="83" creationId="{155C8652-A4AF-47ED-AD4A-C560F4646572}"/>
          </ac:spMkLst>
        </pc:spChg>
        <pc:spChg chg="mod">
          <ac:chgData name="Ugo MANTEL" userId="2d5b7065-31bb-4181-a7f8-a73bf0c30211" providerId="ADAL" clId="{287A013E-B4BE-485E-AE94-C2936752CD18}" dt="2020-10-12T10:03:51.741" v="114592"/>
          <ac:spMkLst>
            <pc:docMk/>
            <pc:sldMk cId="704880795" sldId="260"/>
            <ac:spMk id="84" creationId="{5668CDA6-9517-4468-8B6B-F311104237DC}"/>
          </ac:spMkLst>
        </pc:spChg>
        <pc:spChg chg="add mod ord">
          <ac:chgData name="Ugo MANTEL" userId="2d5b7065-31bb-4181-a7f8-a73bf0c30211" providerId="ADAL" clId="{287A013E-B4BE-485E-AE94-C2936752CD18}" dt="2020-10-12T10:03:51.747" v="114607"/>
          <ac:spMkLst>
            <pc:docMk/>
            <pc:sldMk cId="704880795" sldId="260"/>
            <ac:spMk id="85" creationId="{EFC96EA3-CEDC-47BB-AFD9-6692C7994F12}"/>
          </ac:spMkLst>
        </pc:spChg>
        <pc:spChg chg="add mod ord">
          <ac:chgData name="Ugo MANTEL" userId="2d5b7065-31bb-4181-a7f8-a73bf0c30211" providerId="ADAL" clId="{287A013E-B4BE-485E-AE94-C2936752CD18}" dt="2020-10-12T10:03:51.751" v="114614"/>
          <ac:spMkLst>
            <pc:docMk/>
            <pc:sldMk cId="704880795" sldId="260"/>
            <ac:spMk id="86" creationId="{14F09620-61FF-4685-B42A-E1A89ABBC3F0}"/>
          </ac:spMkLst>
        </pc:spChg>
        <pc:spChg chg="add mod">
          <ac:chgData name="Ugo MANTEL" userId="2d5b7065-31bb-4181-a7f8-a73bf0c30211" providerId="ADAL" clId="{287A013E-B4BE-485E-AE94-C2936752CD18}" dt="2020-10-12T10:03:51.746" v="114604"/>
          <ac:spMkLst>
            <pc:docMk/>
            <pc:sldMk cId="704880795" sldId="260"/>
            <ac:spMk id="87" creationId="{61B7E99B-048A-4E53-AD9D-AE7E3FEF0D3D}"/>
          </ac:spMkLst>
        </pc:spChg>
        <pc:spChg chg="add mod ord">
          <ac:chgData name="Ugo MANTEL" userId="2d5b7065-31bb-4181-a7f8-a73bf0c30211" providerId="ADAL" clId="{287A013E-B4BE-485E-AE94-C2936752CD18}" dt="2020-10-12T10:03:51.739" v="114587"/>
          <ac:spMkLst>
            <pc:docMk/>
            <pc:sldMk cId="704880795" sldId="260"/>
            <ac:spMk id="88" creationId="{61A701AA-0443-4D76-8F67-EFD99F9C9D13}"/>
          </ac:spMkLst>
        </pc:spChg>
        <pc:spChg chg="add mod ord">
          <ac:chgData name="Ugo MANTEL" userId="2d5b7065-31bb-4181-a7f8-a73bf0c30211" providerId="ADAL" clId="{287A013E-B4BE-485E-AE94-C2936752CD18}" dt="2020-10-12T10:03:51.757" v="114627"/>
          <ac:spMkLst>
            <pc:docMk/>
            <pc:sldMk cId="704880795" sldId="260"/>
            <ac:spMk id="89" creationId="{75BF1C62-6B77-450F-BE62-01A6DA6275D4}"/>
          </ac:spMkLst>
        </pc:spChg>
        <pc:spChg chg="mod">
          <ac:chgData name="Ugo MANTEL" userId="2d5b7065-31bb-4181-a7f8-a73bf0c30211" providerId="ADAL" clId="{287A013E-B4BE-485E-AE94-C2936752CD18}" dt="2020-10-12T10:03:51.763" v="114641"/>
          <ac:spMkLst>
            <pc:docMk/>
            <pc:sldMk cId="704880795" sldId="260"/>
            <ac:spMk id="90" creationId="{025749F2-DAB1-4930-8CBA-BF51E2B77500}"/>
          </ac:spMkLst>
        </pc:spChg>
        <pc:spChg chg="del mod">
          <ac:chgData name="Ugo MANTEL" userId="2d5b7065-31bb-4181-a7f8-a73bf0c30211" providerId="ADAL" clId="{287A013E-B4BE-485E-AE94-C2936752CD18}" dt="2020-09-21T16:41:23.404" v="41486"/>
          <ac:spMkLst>
            <pc:docMk/>
            <pc:sldMk cId="704880795" sldId="260"/>
            <ac:spMk id="91" creationId="{7B55D91B-3EC4-4FA4-AB8F-BEED8FD2F67F}"/>
          </ac:spMkLst>
        </pc:spChg>
        <pc:spChg chg="del mod">
          <ac:chgData name="Ugo MANTEL" userId="2d5b7065-31bb-4181-a7f8-a73bf0c30211" providerId="ADAL" clId="{287A013E-B4BE-485E-AE94-C2936752CD18}" dt="2020-09-21T16:41:23.404" v="41487"/>
          <ac:spMkLst>
            <pc:docMk/>
            <pc:sldMk cId="704880795" sldId="260"/>
            <ac:spMk id="92" creationId="{1C765528-A807-44BB-B7DF-3D0E9183AE01}"/>
          </ac:spMkLst>
        </pc:spChg>
        <pc:spChg chg="del mod">
          <ac:chgData name="Ugo MANTEL" userId="2d5b7065-31bb-4181-a7f8-a73bf0c30211" providerId="ADAL" clId="{287A013E-B4BE-485E-AE94-C2936752CD18}" dt="2020-09-21T16:41:23.405" v="41488"/>
          <ac:spMkLst>
            <pc:docMk/>
            <pc:sldMk cId="704880795" sldId="260"/>
            <ac:spMk id="93" creationId="{836E356A-6061-4D7F-8517-61DE0AF9230D}"/>
          </ac:spMkLst>
        </pc:spChg>
        <pc:spChg chg="add mod ord">
          <ac:chgData name="Ugo MANTEL" userId="2d5b7065-31bb-4181-a7f8-a73bf0c30211" providerId="ADAL" clId="{287A013E-B4BE-485E-AE94-C2936752CD18}" dt="2020-10-12T10:03:51.753" v="114618"/>
          <ac:spMkLst>
            <pc:docMk/>
            <pc:sldMk cId="704880795" sldId="260"/>
            <ac:spMk id="94" creationId="{2BB7C84E-84D1-40B0-B2ED-997FC7B15167}"/>
          </ac:spMkLst>
        </pc:spChg>
        <pc:spChg chg="add mod ord">
          <ac:chgData name="Ugo MANTEL" userId="2d5b7065-31bb-4181-a7f8-a73bf0c30211" providerId="ADAL" clId="{287A013E-B4BE-485E-AE94-C2936752CD18}" dt="2020-10-12T10:03:51.743" v="114597"/>
          <ac:spMkLst>
            <pc:docMk/>
            <pc:sldMk cId="704880795" sldId="260"/>
            <ac:spMk id="95" creationId="{F2F488DD-FFAB-4421-A858-131A9C00D9DA}"/>
          </ac:spMkLst>
        </pc:spChg>
        <pc:spChg chg="add mod ord">
          <ac:chgData name="Ugo MANTEL" userId="2d5b7065-31bb-4181-a7f8-a73bf0c30211" providerId="ADAL" clId="{287A013E-B4BE-485E-AE94-C2936752CD18}" dt="2020-10-12T10:03:51.750" v="114612"/>
          <ac:spMkLst>
            <pc:docMk/>
            <pc:sldMk cId="704880795" sldId="260"/>
            <ac:spMk id="96" creationId="{AFFF5B02-4C3E-4C0F-81E2-5980A01EFDBE}"/>
          </ac:spMkLst>
        </pc:spChg>
        <pc:spChg chg="add mod">
          <ac:chgData name="Ugo MANTEL" userId="2d5b7065-31bb-4181-a7f8-a73bf0c30211" providerId="ADAL" clId="{287A013E-B4BE-485E-AE94-C2936752CD18}" dt="2020-10-12T10:03:51.740" v="114588"/>
          <ac:spMkLst>
            <pc:docMk/>
            <pc:sldMk cId="704880795" sldId="260"/>
            <ac:spMk id="97" creationId="{9D8DA086-522B-4030-9CA5-1D73B28200EA}"/>
          </ac:spMkLst>
        </pc:spChg>
        <pc:spChg chg="add del mod ord">
          <ac:chgData name="Ugo MANTEL" userId="2d5b7065-31bb-4181-a7f8-a73bf0c30211" providerId="ADAL" clId="{287A013E-B4BE-485E-AE94-C2936752CD18}" dt="2020-09-21T17:06:34.447" v="60468"/>
          <ac:spMkLst>
            <pc:docMk/>
            <pc:sldMk cId="704880795" sldId="260"/>
            <ac:spMk id="98" creationId="{828D44B8-3509-4A7F-B2B2-EC84A693723B}"/>
          </ac:spMkLst>
        </pc:spChg>
        <pc:spChg chg="add del mod ord">
          <ac:chgData name="Ugo MANTEL" userId="2d5b7065-31bb-4181-a7f8-a73bf0c30211" providerId="ADAL" clId="{287A013E-B4BE-485E-AE94-C2936752CD18}" dt="2020-09-21T17:06:34.451" v="60471"/>
          <ac:spMkLst>
            <pc:docMk/>
            <pc:sldMk cId="704880795" sldId="260"/>
            <ac:spMk id="99" creationId="{0C56CB2D-3A2B-40C0-B726-A02A42B598B8}"/>
          </ac:spMkLst>
        </pc:spChg>
        <pc:spChg chg="add del mod ord">
          <ac:chgData name="Ugo MANTEL" userId="2d5b7065-31bb-4181-a7f8-a73bf0c30211" providerId="ADAL" clId="{287A013E-B4BE-485E-AE94-C2936752CD18}" dt="2020-09-21T16:41:47.766" v="46327"/>
          <ac:spMkLst>
            <pc:docMk/>
            <pc:sldMk cId="704880795" sldId="260"/>
            <ac:spMk id="100" creationId="{D1131294-FCCD-408E-90CA-01B5D75D42F8}"/>
          </ac:spMkLst>
        </pc:spChg>
        <pc:spChg chg="add del mod">
          <ac:chgData name="Ugo MANTEL" userId="2d5b7065-31bb-4181-a7f8-a73bf0c30211" providerId="ADAL" clId="{287A013E-B4BE-485E-AE94-C2936752CD18}" dt="2020-09-21T16:41:30.695" v="45209"/>
          <ac:spMkLst>
            <pc:docMk/>
            <pc:sldMk cId="704880795" sldId="260"/>
            <ac:spMk id="101" creationId="{2D411A67-7C91-4CE9-993E-4625B3D904DA}"/>
          </ac:spMkLst>
        </pc:spChg>
        <pc:spChg chg="del mod">
          <ac:chgData name="Ugo MANTEL" userId="2d5b7065-31bb-4181-a7f8-a73bf0c30211" providerId="ADAL" clId="{287A013E-B4BE-485E-AE94-C2936752CD18}" dt="2020-09-21T16:41:23.435" v="41523"/>
          <ac:spMkLst>
            <pc:docMk/>
            <pc:sldMk cId="704880795" sldId="260"/>
            <ac:spMk id="103" creationId="{0C299CD9-AA0D-4A32-AC8E-2D068CCCF630}"/>
          </ac:spMkLst>
        </pc:spChg>
        <pc:spChg chg="del mod">
          <ac:chgData name="Ugo MANTEL" userId="2d5b7065-31bb-4181-a7f8-a73bf0c30211" providerId="ADAL" clId="{287A013E-B4BE-485E-AE94-C2936752CD18}" dt="2020-09-21T16:41:23.435" v="41524"/>
          <ac:spMkLst>
            <pc:docMk/>
            <pc:sldMk cId="704880795" sldId="260"/>
            <ac:spMk id="105" creationId="{9B0573BB-BE8C-42C0-A52E-68C866ADCA44}"/>
          </ac:spMkLst>
        </pc:spChg>
        <pc:spChg chg="add mod">
          <ac:chgData name="Ugo MANTEL" userId="2d5b7065-31bb-4181-a7f8-a73bf0c30211" providerId="ADAL" clId="{287A013E-B4BE-485E-AE94-C2936752CD18}" dt="2020-10-12T10:03:51.763" v="114642"/>
          <ac:spMkLst>
            <pc:docMk/>
            <pc:sldMk cId="704880795" sldId="260"/>
            <ac:spMk id="127" creationId="{15710920-A989-4E72-8303-6C47701AE345}"/>
          </ac:spMkLst>
        </pc:spChg>
        <pc:spChg chg="add mod">
          <ac:chgData name="Ugo MANTEL" userId="2d5b7065-31bb-4181-a7f8-a73bf0c30211" providerId="ADAL" clId="{287A013E-B4BE-485E-AE94-C2936752CD18}" dt="2020-10-12T10:03:51.764" v="114643"/>
          <ac:spMkLst>
            <pc:docMk/>
            <pc:sldMk cId="704880795" sldId="260"/>
            <ac:spMk id="129" creationId="{FB6DDB69-F5EB-40BF-B875-11174CE7148E}"/>
          </ac:spMkLst>
        </pc:spChg>
        <pc:spChg chg="add del mod">
          <ac:chgData name="Ugo MANTEL" userId="2d5b7065-31bb-4181-a7f8-a73bf0c30211" providerId="ADAL" clId="{287A013E-B4BE-485E-AE94-C2936752CD18}" dt="2020-09-21T17:06:34.455" v="60477"/>
          <ac:spMkLst>
            <pc:docMk/>
            <pc:sldMk cId="704880795" sldId="260"/>
            <ac:spMk id="138" creationId="{5A9D2BF2-CC2C-4E9B-A1F5-AC7225FD1C6D}"/>
          </ac:spMkLst>
        </pc:spChg>
        <pc:graphicFrameChg chg="del">
          <ac:chgData name="Ugo MANTEL" userId="2d5b7065-31bb-4181-a7f8-a73bf0c30211" providerId="ADAL" clId="{287A013E-B4BE-485E-AE94-C2936752CD18}" dt="2020-09-21T16:41:27.074" v="44758"/>
          <ac:graphicFrameMkLst>
            <pc:docMk/>
            <pc:sldMk cId="704880795" sldId="260"/>
            <ac:graphicFrameMk id="37" creationId="{44476F00-F941-4AD1-A11D-6AD479294A9D}"/>
          </ac:graphicFrameMkLst>
        </pc:graphicFrameChg>
        <pc:graphicFrameChg chg="mod ord">
          <ac:chgData name="Ugo MANTEL" userId="2d5b7065-31bb-4181-a7f8-a73bf0c30211" providerId="ADAL" clId="{287A013E-B4BE-485E-AE94-C2936752CD18}" dt="2020-10-12T10:03:51.935" v="114777"/>
          <ac:graphicFrameMkLst>
            <pc:docMk/>
            <pc:sldMk cId="704880795" sldId="260"/>
            <ac:graphicFrameMk id="44" creationId="{F9AE5294-21FB-443B-AC9E-47D53F909727}"/>
          </ac:graphicFrameMkLst>
        </pc:graphicFrameChg>
        <pc:graphicFrameChg chg="add mod ord">
          <ac:chgData name="Ugo MANTEL" userId="2d5b7065-31bb-4181-a7f8-a73bf0c30211" providerId="ADAL" clId="{287A013E-B4BE-485E-AE94-C2936752CD18}" dt="2020-10-12T10:03:51.733" v="114571"/>
          <ac:graphicFrameMkLst>
            <pc:docMk/>
            <pc:sldMk cId="704880795" sldId="260"/>
            <ac:graphicFrameMk id="82" creationId="{137FCE1F-BF06-4790-9ACC-7AB2FD7C43B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41:31.036" v="45491"/>
          <ac:graphicFrameMkLst>
            <pc:docMk/>
            <pc:sldMk cId="704880795" sldId="260"/>
            <ac:graphicFrameMk id="124" creationId="{101D0FE7-81F8-4DCD-8BDA-59E05669CAA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41:37.587" v="45694"/>
          <ac:graphicFrameMkLst>
            <pc:docMk/>
            <pc:sldMk cId="704880795" sldId="260"/>
            <ac:graphicFrameMk id="125" creationId="{6E9F5CEC-3EEA-4F04-B864-B542B7BF342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41:43.555" v="46141"/>
          <ac:graphicFrameMkLst>
            <pc:docMk/>
            <pc:sldMk cId="704880795" sldId="260"/>
            <ac:graphicFrameMk id="126" creationId="{09ACF9E4-92A6-4BA6-BD20-035EA20D47D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41:47.909" v="46609"/>
          <ac:graphicFrameMkLst>
            <pc:docMk/>
            <pc:sldMk cId="704880795" sldId="260"/>
            <ac:graphicFrameMk id="128" creationId="{88C2C18A-8C77-44B2-984D-68B5AF4A5D6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3:11.165" v="47420"/>
          <ac:graphicFrameMkLst>
            <pc:docMk/>
            <pc:sldMk cId="704880795" sldId="260"/>
            <ac:graphicFrameMk id="130" creationId="{C994915D-0343-4DEE-AF8A-E066C08FBE1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3:25.265" v="47961"/>
          <ac:graphicFrameMkLst>
            <pc:docMk/>
            <pc:sldMk cId="704880795" sldId="260"/>
            <ac:graphicFrameMk id="139" creationId="{17E54125-D2D1-4BE8-9AE2-974D8E7CB3D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3:56.453" v="48142"/>
          <ac:graphicFrameMkLst>
            <pc:docMk/>
            <pc:sldMk cId="704880795" sldId="260"/>
            <ac:graphicFrameMk id="140" creationId="{88D80214-8E22-4D17-961D-DA5721C157B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3:57.390" v="48303"/>
          <ac:graphicFrameMkLst>
            <pc:docMk/>
            <pc:sldMk cId="704880795" sldId="260"/>
            <ac:graphicFrameMk id="141" creationId="{FC76814D-FBE2-4FEF-9515-63244EE1986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4:17.393" v="48753"/>
          <ac:graphicFrameMkLst>
            <pc:docMk/>
            <pc:sldMk cId="704880795" sldId="260"/>
            <ac:graphicFrameMk id="142" creationId="{F8B44C17-55DB-44D9-8D93-31518ADDA47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4:21.579" v="49200"/>
          <ac:graphicFrameMkLst>
            <pc:docMk/>
            <pc:sldMk cId="704880795" sldId="260"/>
            <ac:graphicFrameMk id="143" creationId="{31A3BF0F-BC4A-4173-85F6-47E1F909B2B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7:09.615" v="49381"/>
          <ac:graphicFrameMkLst>
            <pc:docMk/>
            <pc:sldMk cId="704880795" sldId="260"/>
            <ac:graphicFrameMk id="144" creationId="{02B427FF-569A-45DB-B13E-01577B21BC1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7:12.921" v="49551"/>
          <ac:graphicFrameMkLst>
            <pc:docMk/>
            <pc:sldMk cId="704880795" sldId="260"/>
            <ac:graphicFrameMk id="145" creationId="{745DA52B-C669-43ED-8A79-C36F0C50973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7:15.212" v="49722"/>
          <ac:graphicFrameMkLst>
            <pc:docMk/>
            <pc:sldMk cId="704880795" sldId="260"/>
            <ac:graphicFrameMk id="146" creationId="{150BF509-C5FA-48CA-AF17-59D815AB79D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7:15.978" v="49883"/>
          <ac:graphicFrameMkLst>
            <pc:docMk/>
            <pc:sldMk cId="704880795" sldId="260"/>
            <ac:graphicFrameMk id="147" creationId="{D4CE8831-C2C8-43F0-9603-ABE703A74B0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7:17.547" v="50054"/>
          <ac:graphicFrameMkLst>
            <pc:docMk/>
            <pc:sldMk cId="704880795" sldId="260"/>
            <ac:graphicFrameMk id="148" creationId="{26F722F6-147A-4570-B814-1934F2A1DA0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7:30.278" v="50225"/>
          <ac:graphicFrameMkLst>
            <pc:docMk/>
            <pc:sldMk cId="704880795" sldId="260"/>
            <ac:graphicFrameMk id="149" creationId="{113380F7-7DCC-4AEB-BA5A-A9BEF851956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7:47.900" v="50386"/>
          <ac:graphicFrameMkLst>
            <pc:docMk/>
            <pc:sldMk cId="704880795" sldId="260"/>
            <ac:graphicFrameMk id="150" creationId="{1D407868-4A8E-417D-A1AB-E1B70E40AAB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7:49.976" v="50547"/>
          <ac:graphicFrameMkLst>
            <pc:docMk/>
            <pc:sldMk cId="704880795" sldId="260"/>
            <ac:graphicFrameMk id="151" creationId="{639BC90A-02F0-4028-B8C6-6B5748671AF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7:52.014" v="50718"/>
          <ac:graphicFrameMkLst>
            <pc:docMk/>
            <pc:sldMk cId="704880795" sldId="260"/>
            <ac:graphicFrameMk id="152" creationId="{8D5C5D01-1BE9-4666-88F6-29D31A1BFF9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7:53.704" v="50889"/>
          <ac:graphicFrameMkLst>
            <pc:docMk/>
            <pc:sldMk cId="704880795" sldId="260"/>
            <ac:graphicFrameMk id="153" creationId="{A93134BA-CE2D-4FF8-B85F-E48DA86B202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7:55.380" v="51060"/>
          <ac:graphicFrameMkLst>
            <pc:docMk/>
            <pc:sldMk cId="704880795" sldId="260"/>
            <ac:graphicFrameMk id="154" creationId="{049723CA-8F53-4BA2-9178-CF606EE4981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7:57" v="51231"/>
          <ac:graphicFrameMkLst>
            <pc:docMk/>
            <pc:sldMk cId="704880795" sldId="260"/>
            <ac:graphicFrameMk id="155" creationId="{63849F4B-8011-44E2-8272-E4A1FF60938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7:58.789" v="51402"/>
          <ac:graphicFrameMkLst>
            <pc:docMk/>
            <pc:sldMk cId="704880795" sldId="260"/>
            <ac:graphicFrameMk id="156" creationId="{31E7616E-62F1-45AA-A510-AD918A80C67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8:02.026" v="51573"/>
          <ac:graphicFrameMkLst>
            <pc:docMk/>
            <pc:sldMk cId="704880795" sldId="260"/>
            <ac:graphicFrameMk id="157" creationId="{AB5673F2-0702-4ECC-BAE6-5821E374C3F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8:08.216" v="51744"/>
          <ac:graphicFrameMkLst>
            <pc:docMk/>
            <pc:sldMk cId="704880795" sldId="260"/>
            <ac:graphicFrameMk id="158" creationId="{EF53834F-FFFA-4F9A-902D-9DD73A04FF2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8:11.019" v="51915"/>
          <ac:graphicFrameMkLst>
            <pc:docMk/>
            <pc:sldMk cId="704880795" sldId="260"/>
            <ac:graphicFrameMk id="159" creationId="{2B937ADA-AA61-4164-95D2-552A8FE9E54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8:13.018" v="52085"/>
          <ac:graphicFrameMkLst>
            <pc:docMk/>
            <pc:sldMk cId="704880795" sldId="260"/>
            <ac:graphicFrameMk id="160" creationId="{5C648B3B-0AD9-4B33-B6C3-1C4E4E8C01F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8:17.983" v="52256"/>
          <ac:graphicFrameMkLst>
            <pc:docMk/>
            <pc:sldMk cId="704880795" sldId="260"/>
            <ac:graphicFrameMk id="161" creationId="{A186670E-8110-4D9A-9317-5BD99A06BF4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8:19.717" v="52427"/>
          <ac:graphicFrameMkLst>
            <pc:docMk/>
            <pc:sldMk cId="704880795" sldId="260"/>
            <ac:graphicFrameMk id="162" creationId="{BA6B0809-ACF3-406B-BF1E-DC778188548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8:21.663" v="52598"/>
          <ac:graphicFrameMkLst>
            <pc:docMk/>
            <pc:sldMk cId="704880795" sldId="260"/>
            <ac:graphicFrameMk id="163" creationId="{87CF4278-8E9F-410F-A8F7-F0FBA5D7AC2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8:24.498" v="52769"/>
          <ac:graphicFrameMkLst>
            <pc:docMk/>
            <pc:sldMk cId="704880795" sldId="260"/>
            <ac:graphicFrameMk id="164" creationId="{20396AD7-3C7C-48A8-857C-D5118CD70B9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8:26.617" v="52940"/>
          <ac:graphicFrameMkLst>
            <pc:docMk/>
            <pc:sldMk cId="704880795" sldId="260"/>
            <ac:graphicFrameMk id="165" creationId="{10CCD4A2-F45B-4F68-9CA1-EFA26CC2544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8:29.588" v="53111"/>
          <ac:graphicFrameMkLst>
            <pc:docMk/>
            <pc:sldMk cId="704880795" sldId="260"/>
            <ac:graphicFrameMk id="166" creationId="{A1F15726-26D8-4FF9-9ED1-E5EE450F7D6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8:31.350" v="53282"/>
          <ac:graphicFrameMkLst>
            <pc:docMk/>
            <pc:sldMk cId="704880795" sldId="260"/>
            <ac:graphicFrameMk id="167" creationId="{A6189D5C-C3E3-477B-B43F-D52EBBCE3B4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8:33.100" v="53453"/>
          <ac:graphicFrameMkLst>
            <pc:docMk/>
            <pc:sldMk cId="704880795" sldId="260"/>
            <ac:graphicFrameMk id="168" creationId="{6ED46859-53D0-4C8E-8CEC-898FFFAD0EF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8:34.431" v="53624"/>
          <ac:graphicFrameMkLst>
            <pc:docMk/>
            <pc:sldMk cId="704880795" sldId="260"/>
            <ac:graphicFrameMk id="169" creationId="{4EAF554A-BDC5-4CC6-BD20-538C293D576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8:35.930" v="53795"/>
          <ac:graphicFrameMkLst>
            <pc:docMk/>
            <pc:sldMk cId="704880795" sldId="260"/>
            <ac:graphicFrameMk id="170" creationId="{5B4E8147-9AEB-4E2D-A9C3-465C46EC4D2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8:43.227" v="53966"/>
          <ac:graphicFrameMkLst>
            <pc:docMk/>
            <pc:sldMk cId="704880795" sldId="260"/>
            <ac:graphicFrameMk id="171" creationId="{CF423792-160C-472E-98FD-EC59D5D9858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8:46.267" v="54137"/>
          <ac:graphicFrameMkLst>
            <pc:docMk/>
            <pc:sldMk cId="704880795" sldId="260"/>
            <ac:graphicFrameMk id="172" creationId="{09C40D63-7AC0-4998-BB4E-5B4B78D1179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9:34.793" v="54298"/>
          <ac:graphicFrameMkLst>
            <pc:docMk/>
            <pc:sldMk cId="704880795" sldId="260"/>
            <ac:graphicFrameMk id="173" creationId="{807CFE7B-36EB-4E40-B48F-85326045A71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9:38.698" v="54459"/>
          <ac:graphicFrameMkLst>
            <pc:docMk/>
            <pc:sldMk cId="704880795" sldId="260"/>
            <ac:graphicFrameMk id="174" creationId="{B932F1A6-E030-4265-8FCF-8E29A73D269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6:59:51.529" v="54620"/>
          <ac:graphicFrameMkLst>
            <pc:docMk/>
            <pc:sldMk cId="704880795" sldId="260"/>
            <ac:graphicFrameMk id="175" creationId="{6E8BD184-BA9F-40DA-B232-42C127B36C5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0:09.226" v="54790"/>
          <ac:graphicFrameMkLst>
            <pc:docMk/>
            <pc:sldMk cId="704880795" sldId="260"/>
            <ac:graphicFrameMk id="176" creationId="{04A42236-6FBB-4C27-9FE8-84FE555FBE6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0:14.379" v="54954"/>
          <ac:graphicFrameMkLst>
            <pc:docMk/>
            <pc:sldMk cId="704880795" sldId="260"/>
            <ac:graphicFrameMk id="177" creationId="{0D60B641-2E8C-4930-AE61-CC175B2FCC5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0:27.846" v="55753"/>
          <ac:graphicFrameMkLst>
            <pc:docMk/>
            <pc:sldMk cId="704880795" sldId="260"/>
            <ac:graphicFrameMk id="178" creationId="{FEAD47AD-C5DF-4D66-AB0C-1E6CDCC422A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0:24.762" v="55553" actId="1076"/>
          <ac:graphicFrameMkLst>
            <pc:docMk/>
            <pc:sldMk cId="704880795" sldId="260"/>
            <ac:graphicFrameMk id="179" creationId="{BE721BA0-CAC6-473C-BB9C-382A7C2B0CAE}"/>
          </ac:graphicFrameMkLst>
        </pc:graphicFrameChg>
        <pc:graphicFrameChg chg="add mod ord">
          <ac:chgData name="Ugo MANTEL" userId="2d5b7065-31bb-4181-a7f8-a73bf0c30211" providerId="ADAL" clId="{287A013E-B4BE-485E-AE94-C2936752CD18}" dt="2020-09-21T17:00:24.730" v="55496" actId="1076"/>
          <ac:graphicFrameMkLst>
            <pc:docMk/>
            <pc:sldMk cId="704880795" sldId="260"/>
            <ac:graphicFrameMk id="180" creationId="{B8C2EE86-7521-4936-9BAC-CDA0B354551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0:28.429" v="55914"/>
          <ac:graphicFrameMkLst>
            <pc:docMk/>
            <pc:sldMk cId="704880795" sldId="260"/>
            <ac:graphicFrameMk id="181" creationId="{EF34AF09-C397-4A2E-ABE7-26856ED0732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0:31.681" v="56075"/>
          <ac:graphicFrameMkLst>
            <pc:docMk/>
            <pc:sldMk cId="704880795" sldId="260"/>
            <ac:graphicFrameMk id="182" creationId="{D95981C0-B274-4F40-BD54-4673F4F6A0B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0:32.505" v="56236"/>
          <ac:graphicFrameMkLst>
            <pc:docMk/>
            <pc:sldMk cId="704880795" sldId="260"/>
            <ac:graphicFrameMk id="183" creationId="{0F048F8E-43EC-4082-BE7C-15AA6668AB7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0:35.883" v="56397"/>
          <ac:graphicFrameMkLst>
            <pc:docMk/>
            <pc:sldMk cId="704880795" sldId="260"/>
            <ac:graphicFrameMk id="184" creationId="{EF7EB0BE-242F-4C3E-923E-8C715CC8D65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0:45.204" v="56558"/>
          <ac:graphicFrameMkLst>
            <pc:docMk/>
            <pc:sldMk cId="704880795" sldId="260"/>
            <ac:graphicFrameMk id="185" creationId="{36ECF0DA-7707-4807-9F88-B7C8B0EED99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0:46.097" v="56736"/>
          <ac:graphicFrameMkLst>
            <pc:docMk/>
            <pc:sldMk cId="704880795" sldId="260"/>
            <ac:graphicFrameMk id="186" creationId="{481AB774-D12B-4451-90AA-18025008410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0:48.403" v="56915"/>
          <ac:graphicFrameMkLst>
            <pc:docMk/>
            <pc:sldMk cId="704880795" sldId="260"/>
            <ac:graphicFrameMk id="188" creationId="{6D4F5FE8-AF7A-48E8-9B8B-59F2E142AE9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0:53.964" v="57078"/>
          <ac:graphicFrameMkLst>
            <pc:docMk/>
            <pc:sldMk cId="704880795" sldId="260"/>
            <ac:graphicFrameMk id="190" creationId="{8956F676-E41F-410A-A79F-63292C96FC9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0:57.495" v="57241"/>
          <ac:graphicFrameMkLst>
            <pc:docMk/>
            <pc:sldMk cId="704880795" sldId="260"/>
            <ac:graphicFrameMk id="191" creationId="{ED2638A3-3DA3-4A88-B694-533371B871E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1:06.395" v="57404"/>
          <ac:graphicFrameMkLst>
            <pc:docMk/>
            <pc:sldMk cId="704880795" sldId="260"/>
            <ac:graphicFrameMk id="192" creationId="{AEA67C16-F913-4D83-ABCD-909272A2216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1:13.161" v="57567"/>
          <ac:graphicFrameMkLst>
            <pc:docMk/>
            <pc:sldMk cId="704880795" sldId="260"/>
            <ac:graphicFrameMk id="193" creationId="{2B12795D-2C9E-48D9-9FE6-B79B6AAD916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1:13.410" v="57747"/>
          <ac:graphicFrameMkLst>
            <pc:docMk/>
            <pc:sldMk cId="704880795" sldId="260"/>
            <ac:graphicFrameMk id="194" creationId="{B3B8C4B4-764C-4535-B53B-2D3E0DB1770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1:15.751" v="57911"/>
          <ac:graphicFrameMkLst>
            <pc:docMk/>
            <pc:sldMk cId="704880795" sldId="260"/>
            <ac:graphicFrameMk id="196" creationId="{966DD3B1-5A5D-496C-984A-9247D34DF36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1:16.007" v="58092"/>
          <ac:graphicFrameMkLst>
            <pc:docMk/>
            <pc:sldMk cId="704880795" sldId="260"/>
            <ac:graphicFrameMk id="197" creationId="{FE841402-4CB5-4223-8DC3-323B7A3252D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1:20.135" v="58257"/>
          <ac:graphicFrameMkLst>
            <pc:docMk/>
            <pc:sldMk cId="704880795" sldId="260"/>
            <ac:graphicFrameMk id="199" creationId="{40566A73-187D-4C74-AADC-FA6CDC07D09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1:30.443" v="58439"/>
          <ac:graphicFrameMkLst>
            <pc:docMk/>
            <pc:sldMk cId="704880795" sldId="260"/>
            <ac:graphicFrameMk id="200" creationId="{6F187617-F188-43A1-9458-D719A4D1CAA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1:32.610" v="58622"/>
          <ac:graphicFrameMkLst>
            <pc:docMk/>
            <pc:sldMk cId="704880795" sldId="260"/>
            <ac:graphicFrameMk id="202" creationId="{6196ACCF-8F2D-460C-8135-9C71765E428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1:41.012" v="58789"/>
          <ac:graphicFrameMkLst>
            <pc:docMk/>
            <pc:sldMk cId="704880795" sldId="260"/>
            <ac:graphicFrameMk id="204" creationId="{1B816707-9FC5-402E-996A-46B071E7200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1:45.592" v="58956"/>
          <ac:graphicFrameMkLst>
            <pc:docMk/>
            <pc:sldMk cId="704880795" sldId="260"/>
            <ac:graphicFrameMk id="205" creationId="{5D4FCF2A-3E74-454F-9678-D49DA33F3C5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1:53.038" v="59123"/>
          <ac:graphicFrameMkLst>
            <pc:docMk/>
            <pc:sldMk cId="704880795" sldId="260"/>
            <ac:graphicFrameMk id="206" creationId="{49590B62-94C8-49BA-9316-C5CC9F83BEA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1:56.944" v="59292"/>
          <ac:graphicFrameMkLst>
            <pc:docMk/>
            <pc:sldMk cId="704880795" sldId="260"/>
            <ac:graphicFrameMk id="207" creationId="{0FD7CFF6-6E39-4CB8-BBBB-8552FC36CC9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2:00.896" v="59461"/>
          <ac:graphicFrameMkLst>
            <pc:docMk/>
            <pc:sldMk cId="704880795" sldId="260"/>
            <ac:graphicFrameMk id="208" creationId="{4E0C9F40-E3A3-443A-9AC0-5E84D2A7746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2:09.682" v="59628"/>
          <ac:graphicFrameMkLst>
            <pc:docMk/>
            <pc:sldMk cId="704880795" sldId="260"/>
            <ac:graphicFrameMk id="209" creationId="{9D1E38D7-0107-4D4C-AD8D-75E191E8912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2:16.022" v="59795"/>
          <ac:graphicFrameMkLst>
            <pc:docMk/>
            <pc:sldMk cId="704880795" sldId="260"/>
            <ac:graphicFrameMk id="210" creationId="{ABDF4102-95C9-48E5-8B2C-8C24ED804B6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2:19.589" v="59962"/>
          <ac:graphicFrameMkLst>
            <pc:docMk/>
            <pc:sldMk cId="704880795" sldId="260"/>
            <ac:graphicFrameMk id="211" creationId="{712240EE-6E9B-47C7-AC39-03305C43AE7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2:28.075" v="60132"/>
          <ac:graphicFrameMkLst>
            <pc:docMk/>
            <pc:sldMk cId="704880795" sldId="260"/>
            <ac:graphicFrameMk id="212" creationId="{A3116494-DD76-4EFD-9DD8-8D19CA7F429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2:31.541" v="60302"/>
          <ac:graphicFrameMkLst>
            <pc:docMk/>
            <pc:sldMk cId="704880795" sldId="260"/>
            <ac:graphicFrameMk id="213" creationId="{6A6F0902-2BC7-4462-8066-5985AC4EF0A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6:34.552" v="60534"/>
          <ac:graphicFrameMkLst>
            <pc:docMk/>
            <pc:sldMk cId="704880795" sldId="260"/>
            <ac:graphicFrameMk id="214" creationId="{7575DB33-ED30-48AB-890A-8270CAFA060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6:39.419" v="60724"/>
          <ac:graphicFrameMkLst>
            <pc:docMk/>
            <pc:sldMk cId="704880795" sldId="260"/>
            <ac:graphicFrameMk id="215" creationId="{27AAED35-3E16-4D37-A3B0-51B9BAFC3D2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6:44.168" v="60893"/>
          <ac:graphicFrameMkLst>
            <pc:docMk/>
            <pc:sldMk cId="704880795" sldId="260"/>
            <ac:graphicFrameMk id="216" creationId="{3DB0E993-1093-4C7F-9781-77BCBDA55DB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6:53.676" v="61409"/>
          <ac:graphicFrameMkLst>
            <pc:docMk/>
            <pc:sldMk cId="704880795" sldId="260"/>
            <ac:graphicFrameMk id="217" creationId="{52BD6AE3-B3EC-4B79-8C1E-CD5CF1318E1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7:22.362" v="61775"/>
          <ac:graphicFrameMkLst>
            <pc:docMk/>
            <pc:sldMk cId="704880795" sldId="260"/>
            <ac:graphicFrameMk id="218" creationId="{3C5D4EB7-CB48-44C1-80AA-07E44D75FAB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09:06.186" v="61932"/>
          <ac:graphicFrameMkLst>
            <pc:docMk/>
            <pc:sldMk cId="704880795" sldId="260"/>
            <ac:graphicFrameMk id="220" creationId="{C9945D49-16E5-4A0B-9BC7-D491F9545E3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13:35.137" v="62074"/>
          <ac:graphicFrameMkLst>
            <pc:docMk/>
            <pc:sldMk cId="704880795" sldId="260"/>
            <ac:graphicFrameMk id="221" creationId="{A2F34D30-7F53-470E-B4C7-B3802714E40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13:35.999" v="62225"/>
          <ac:graphicFrameMkLst>
            <pc:docMk/>
            <pc:sldMk cId="704880795" sldId="260"/>
            <ac:graphicFrameMk id="222" creationId="{88FB35A1-0118-4D12-BFE3-7C4E677DBA0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13:38.823" v="62375"/>
          <ac:graphicFrameMkLst>
            <pc:docMk/>
            <pc:sldMk cId="704880795" sldId="260"/>
            <ac:graphicFrameMk id="223" creationId="{9F7D6940-BB33-4B1B-B72D-0F98EA3E7CC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13:41.758" v="62524"/>
          <ac:graphicFrameMkLst>
            <pc:docMk/>
            <pc:sldMk cId="704880795" sldId="260"/>
            <ac:graphicFrameMk id="224" creationId="{9D985BD4-37EB-455B-88AA-FB51AA5EB95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13:45.403" v="62671"/>
          <ac:graphicFrameMkLst>
            <pc:docMk/>
            <pc:sldMk cId="704880795" sldId="260"/>
            <ac:graphicFrameMk id="225" creationId="{4E496E3A-5631-40F4-B1C5-B5AB17A1741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13:47.956" v="62809"/>
          <ac:graphicFrameMkLst>
            <pc:docMk/>
            <pc:sldMk cId="704880795" sldId="260"/>
            <ac:graphicFrameMk id="226" creationId="{1F28E40E-CCDF-4B4B-8DE7-A2FB2ABBC94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13:49.091" v="62955"/>
          <ac:graphicFrameMkLst>
            <pc:docMk/>
            <pc:sldMk cId="704880795" sldId="260"/>
            <ac:graphicFrameMk id="227" creationId="{D2FF1E05-BFA9-45C7-ACB1-620CB63428D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13:54.461" v="63101"/>
          <ac:graphicFrameMkLst>
            <pc:docMk/>
            <pc:sldMk cId="704880795" sldId="260"/>
            <ac:graphicFrameMk id="228" creationId="{B2B1DD66-F31C-4830-8C45-197D26BEFBD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13:56.625" v="63237"/>
          <ac:graphicFrameMkLst>
            <pc:docMk/>
            <pc:sldMk cId="704880795" sldId="260"/>
            <ac:graphicFrameMk id="229" creationId="{6C1A44F8-6326-4D2C-AEF6-80D53B94911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13:57.202" v="63382"/>
          <ac:graphicFrameMkLst>
            <pc:docMk/>
            <pc:sldMk cId="704880795" sldId="260"/>
            <ac:graphicFrameMk id="230" creationId="{5472DDA8-035B-4805-BFB9-97F0056DC91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10-12T10:03:51.689" v="114513"/>
          <ac:graphicFrameMkLst>
            <pc:docMk/>
            <pc:sldMk cId="704880795" sldId="260"/>
            <ac:graphicFrameMk id="231" creationId="{DBDF09C9-CDE9-4E8D-8B54-4F7A0C490EC3}"/>
          </ac:graphicFrameMkLst>
        </pc:graphicFrameChg>
        <pc:cxnChg chg="add del mod ord">
          <ac:chgData name="Ugo MANTEL" userId="2d5b7065-31bb-4181-a7f8-a73bf0c30211" providerId="ADAL" clId="{287A013E-B4BE-485E-AE94-C2936752CD18}" dt="2020-09-21T16:41:30.694" v="45205"/>
          <ac:cxnSpMkLst>
            <pc:docMk/>
            <pc:sldMk cId="704880795" sldId="260"/>
            <ac:cxnSpMk id="4" creationId="{40C2FD1C-CCB3-425C-AA5B-905176A485EC}"/>
          </ac:cxnSpMkLst>
        </pc:cxnChg>
        <pc:cxnChg chg="add mod ord">
          <ac:chgData name="Ugo MANTEL" userId="2d5b7065-31bb-4181-a7f8-a73bf0c30211" providerId="ADAL" clId="{287A013E-B4BE-485E-AE94-C2936752CD18}" dt="2020-10-12T10:03:51.736" v="114579"/>
          <ac:cxnSpMkLst>
            <pc:docMk/>
            <pc:sldMk cId="704880795" sldId="260"/>
            <ac:cxnSpMk id="5" creationId="{6BC59FA9-33D7-4905-962C-3F257303654E}"/>
          </ac:cxnSpMkLst>
        </pc:cxnChg>
        <pc:cxnChg chg="add del mod ord">
          <ac:chgData name="Ugo MANTEL" userId="2d5b7065-31bb-4181-a7f8-a73bf0c30211" providerId="ADAL" clId="{287A013E-B4BE-485E-AE94-C2936752CD18}" dt="2020-09-21T16:53:10.929" v="47037"/>
          <ac:cxnSpMkLst>
            <pc:docMk/>
            <pc:sldMk cId="704880795" sldId="260"/>
            <ac:cxnSpMk id="6" creationId="{35A4BC11-2530-47FE-A5EC-A8B658985507}"/>
          </ac:cxnSpMkLst>
        </pc:cxnChg>
        <pc:cxnChg chg="add del mod ord">
          <ac:chgData name="Ugo MANTEL" userId="2d5b7065-31bb-4181-a7f8-a73bf0c30211" providerId="ADAL" clId="{287A013E-B4BE-485E-AE94-C2936752CD18}" dt="2020-09-21T16:41:47.794" v="46351"/>
          <ac:cxnSpMkLst>
            <pc:docMk/>
            <pc:sldMk cId="704880795" sldId="260"/>
            <ac:cxnSpMk id="7" creationId="{A6D0E283-3B62-42C9-84CB-8617C4558736}"/>
          </ac:cxnSpMkLst>
        </pc:cxnChg>
        <pc:cxnChg chg="add del mod ord">
          <ac:chgData name="Ugo MANTEL" userId="2d5b7065-31bb-4181-a7f8-a73bf0c30211" providerId="ADAL" clId="{287A013E-B4BE-485E-AE94-C2936752CD18}" dt="2020-09-21T16:53:10.937" v="47050"/>
          <ac:cxnSpMkLst>
            <pc:docMk/>
            <pc:sldMk cId="704880795" sldId="260"/>
            <ac:cxnSpMk id="8" creationId="{35DC5D32-21E4-4928-B46F-F98FE04CB3D0}"/>
          </ac:cxnSpMkLst>
        </pc:cxnChg>
        <pc:cxnChg chg="add del mod ord">
          <ac:chgData name="Ugo MANTEL" userId="2d5b7065-31bb-4181-a7f8-a73bf0c30211" providerId="ADAL" clId="{287A013E-B4BE-485E-AE94-C2936752CD18}" dt="2020-09-21T16:53:10.954" v="47078"/>
          <ac:cxnSpMkLst>
            <pc:docMk/>
            <pc:sldMk cId="704880795" sldId="260"/>
            <ac:cxnSpMk id="9" creationId="{F9F18A3E-8ABF-4E67-89C4-CD761E672C2D}"/>
          </ac:cxnSpMkLst>
        </pc:cxnChg>
        <pc:cxnChg chg="add del mod ord">
          <ac:chgData name="Ugo MANTEL" userId="2d5b7065-31bb-4181-a7f8-a73bf0c30211" providerId="ADAL" clId="{287A013E-B4BE-485E-AE94-C2936752CD18}" dt="2020-09-21T16:41:47.807" v="46384"/>
          <ac:cxnSpMkLst>
            <pc:docMk/>
            <pc:sldMk cId="704880795" sldId="260"/>
            <ac:cxnSpMk id="11" creationId="{A898D2FA-6486-4F2E-A34A-6C24D2ED1BB6}"/>
          </ac:cxnSpMkLst>
        </pc:cxnChg>
        <pc:cxnChg chg="add del mod ord">
          <ac:chgData name="Ugo MANTEL" userId="2d5b7065-31bb-4181-a7f8-a73bf0c30211" providerId="ADAL" clId="{287A013E-B4BE-485E-AE94-C2936752CD18}" dt="2020-09-21T16:41:47.813" v="46393"/>
          <ac:cxnSpMkLst>
            <pc:docMk/>
            <pc:sldMk cId="704880795" sldId="260"/>
            <ac:cxnSpMk id="12" creationId="{00B411E5-04B0-4703-84D6-FD4A182AC24D}"/>
          </ac:cxnSpMkLst>
        </pc:cxnChg>
        <pc:cxnChg chg="add mod ord">
          <ac:chgData name="Ugo MANTEL" userId="2d5b7065-31bb-4181-a7f8-a73bf0c30211" providerId="ADAL" clId="{287A013E-B4BE-485E-AE94-C2936752CD18}" dt="2020-10-12T10:03:51.735" v="114577"/>
          <ac:cxnSpMkLst>
            <pc:docMk/>
            <pc:sldMk cId="704880795" sldId="260"/>
            <ac:cxnSpMk id="13" creationId="{4298AAB4-D8D2-4B0A-8046-CD07D3928028}"/>
          </ac:cxnSpMkLst>
        </pc:cxnChg>
        <pc:cxnChg chg="add del mod ord">
          <ac:chgData name="Ugo MANTEL" userId="2d5b7065-31bb-4181-a7f8-a73bf0c30211" providerId="ADAL" clId="{287A013E-B4BE-485E-AE94-C2936752CD18}" dt="2020-09-21T16:41:47.822" v="46412"/>
          <ac:cxnSpMkLst>
            <pc:docMk/>
            <pc:sldMk cId="704880795" sldId="260"/>
            <ac:cxnSpMk id="14" creationId="{CA719316-C4AE-40FB-A9F1-29032CE2C6E2}"/>
          </ac:cxnSpMkLst>
        </pc:cxnChg>
        <pc:cxnChg chg="add del mod ord">
          <ac:chgData name="Ugo MANTEL" userId="2d5b7065-31bb-4181-a7f8-a73bf0c30211" providerId="ADAL" clId="{287A013E-B4BE-485E-AE94-C2936752CD18}" dt="2020-09-21T16:41:30.695" v="45208"/>
          <ac:cxnSpMkLst>
            <pc:docMk/>
            <pc:sldMk cId="704880795" sldId="260"/>
            <ac:cxnSpMk id="15" creationId="{FE0D8F10-B99C-4BB7-A7E6-20C00B979196}"/>
          </ac:cxnSpMkLst>
        </pc:cxnChg>
        <pc:cxnChg chg="add mod ord">
          <ac:chgData name="Ugo MANTEL" userId="2d5b7065-31bb-4181-a7f8-a73bf0c30211" providerId="ADAL" clId="{287A013E-B4BE-485E-AE94-C2936752CD18}" dt="2020-10-12T10:03:51.738" v="114583"/>
          <ac:cxnSpMkLst>
            <pc:docMk/>
            <pc:sldMk cId="704880795" sldId="260"/>
            <ac:cxnSpMk id="16" creationId="{FA33EB4E-C1D5-41D3-A3FA-DD281150C253}"/>
          </ac:cxnSpMkLst>
        </pc:cxnChg>
        <pc:cxnChg chg="add del mod ord">
          <ac:chgData name="Ugo MANTEL" userId="2d5b7065-31bb-4181-a7f8-a73bf0c30211" providerId="ADAL" clId="{287A013E-B4BE-485E-AE94-C2936752CD18}" dt="2020-09-21T16:53:11.010" v="47179"/>
          <ac:cxnSpMkLst>
            <pc:docMk/>
            <pc:sldMk cId="704880795" sldId="260"/>
            <ac:cxnSpMk id="17" creationId="{F77D3255-890D-4C2E-9B0A-7DA3959EE7C4}"/>
          </ac:cxnSpMkLst>
        </pc:cxnChg>
        <pc:cxnChg chg="add del mod ord">
          <ac:chgData name="Ugo MANTEL" userId="2d5b7065-31bb-4181-a7f8-a73bf0c30211" providerId="ADAL" clId="{287A013E-B4BE-485E-AE94-C2936752CD18}" dt="2020-09-21T16:53:11.018" v="47190"/>
          <ac:cxnSpMkLst>
            <pc:docMk/>
            <pc:sldMk cId="704880795" sldId="260"/>
            <ac:cxnSpMk id="18" creationId="{C3DDFF9C-5D7F-48CD-9451-809E899F8F20}"/>
          </ac:cxnSpMkLst>
        </pc:cxnChg>
        <pc:cxnChg chg="mod ord">
          <ac:chgData name="Ugo MANTEL" userId="2d5b7065-31bb-4181-a7f8-a73bf0c30211" providerId="ADAL" clId="{287A013E-B4BE-485E-AE94-C2936752CD18}" dt="2020-10-12T10:03:51.725" v="114551"/>
          <ac:cxnSpMkLst>
            <pc:docMk/>
            <pc:sldMk cId="704880795" sldId="260"/>
            <ac:cxnSpMk id="19" creationId="{717BD74F-C2CE-4695-825B-C98607B7AAEC}"/>
          </ac:cxnSpMkLst>
        </pc:cxnChg>
        <pc:cxnChg chg="mod ord">
          <ac:chgData name="Ugo MANTEL" userId="2d5b7065-31bb-4181-a7f8-a73bf0c30211" providerId="ADAL" clId="{287A013E-B4BE-485E-AE94-C2936752CD18}" dt="2020-10-12T10:03:51.720" v="114541"/>
          <ac:cxnSpMkLst>
            <pc:docMk/>
            <pc:sldMk cId="704880795" sldId="260"/>
            <ac:cxnSpMk id="20" creationId="{3A46CCEE-C924-409E-8B22-1FDA2BDF16FF}"/>
          </ac:cxnSpMkLst>
        </pc:cxnChg>
        <pc:cxnChg chg="mod ord">
          <ac:chgData name="Ugo MANTEL" userId="2d5b7065-31bb-4181-a7f8-a73bf0c30211" providerId="ADAL" clId="{287A013E-B4BE-485E-AE94-C2936752CD18}" dt="2020-10-12T10:03:51.715" v="114533"/>
          <ac:cxnSpMkLst>
            <pc:docMk/>
            <pc:sldMk cId="704880795" sldId="260"/>
            <ac:cxnSpMk id="21" creationId="{018ACEB0-AF3E-45B6-868C-167A218ABA13}"/>
          </ac:cxnSpMkLst>
        </pc:cxnChg>
        <pc:cxnChg chg="mod ord">
          <ac:chgData name="Ugo MANTEL" userId="2d5b7065-31bb-4181-a7f8-a73bf0c30211" providerId="ADAL" clId="{287A013E-B4BE-485E-AE94-C2936752CD18}" dt="2020-10-12T10:03:51.721" v="114543"/>
          <ac:cxnSpMkLst>
            <pc:docMk/>
            <pc:sldMk cId="704880795" sldId="260"/>
            <ac:cxnSpMk id="22" creationId="{4173AED3-29CC-4F4A-B8B0-6B86E5D40959}"/>
          </ac:cxnSpMkLst>
        </pc:cxnChg>
        <pc:cxnChg chg="mod ord">
          <ac:chgData name="Ugo MANTEL" userId="2d5b7065-31bb-4181-a7f8-a73bf0c30211" providerId="ADAL" clId="{287A013E-B4BE-485E-AE94-C2936752CD18}" dt="2020-10-12T10:03:51.712" v="114527"/>
          <ac:cxnSpMkLst>
            <pc:docMk/>
            <pc:sldMk cId="704880795" sldId="260"/>
            <ac:cxnSpMk id="23" creationId="{C9A5551A-D2F8-4A30-801B-B12FF7F0961E}"/>
          </ac:cxnSpMkLst>
        </pc:cxnChg>
        <pc:cxnChg chg="mod ord">
          <ac:chgData name="Ugo MANTEL" userId="2d5b7065-31bb-4181-a7f8-a73bf0c30211" providerId="ADAL" clId="{287A013E-B4BE-485E-AE94-C2936752CD18}" dt="2020-10-12T10:03:51.724" v="114549"/>
          <ac:cxnSpMkLst>
            <pc:docMk/>
            <pc:sldMk cId="704880795" sldId="260"/>
            <ac:cxnSpMk id="24" creationId="{DAC76BFC-C0C7-43E6-8C47-5B82BE1FE8C0}"/>
          </ac:cxnSpMkLst>
        </pc:cxnChg>
        <pc:cxnChg chg="mod ord">
          <ac:chgData name="Ugo MANTEL" userId="2d5b7065-31bb-4181-a7f8-a73bf0c30211" providerId="ADAL" clId="{287A013E-B4BE-485E-AE94-C2936752CD18}" dt="2020-10-12T10:03:51.718" v="114539"/>
          <ac:cxnSpMkLst>
            <pc:docMk/>
            <pc:sldMk cId="704880795" sldId="260"/>
            <ac:cxnSpMk id="25" creationId="{5484EB71-66AA-4CC7-A1CE-CE17BB88EE96}"/>
          </ac:cxnSpMkLst>
        </pc:cxnChg>
        <pc:cxnChg chg="mod ord">
          <ac:chgData name="Ugo MANTEL" userId="2d5b7065-31bb-4181-a7f8-a73bf0c30211" providerId="ADAL" clId="{287A013E-B4BE-485E-AE94-C2936752CD18}" dt="2020-10-12T10:03:51.725" v="114553"/>
          <ac:cxnSpMkLst>
            <pc:docMk/>
            <pc:sldMk cId="704880795" sldId="260"/>
            <ac:cxnSpMk id="26" creationId="{A93180D1-0329-4BD7-89FB-1D3C7322242E}"/>
          </ac:cxnSpMkLst>
        </pc:cxnChg>
        <pc:cxnChg chg="add mod ord">
          <ac:chgData name="Ugo MANTEL" userId="2d5b7065-31bb-4181-a7f8-a73bf0c30211" providerId="ADAL" clId="{287A013E-B4BE-485E-AE94-C2936752CD18}" dt="2020-10-12T10:03:51.739" v="114585"/>
          <ac:cxnSpMkLst>
            <pc:docMk/>
            <pc:sldMk cId="704880795" sldId="260"/>
            <ac:cxnSpMk id="28" creationId="{A757039C-D34B-4E35-9552-004F0B46FDF3}"/>
          </ac:cxnSpMkLst>
        </pc:cxnChg>
        <pc:cxnChg chg="add del mod ord">
          <ac:chgData name="Ugo MANTEL" userId="2d5b7065-31bb-4181-a7f8-a73bf0c30211" providerId="ADAL" clId="{287A013E-B4BE-485E-AE94-C2936752CD18}" dt="2020-09-21T16:53:11.036" v="47220"/>
          <ac:cxnSpMkLst>
            <pc:docMk/>
            <pc:sldMk cId="704880795" sldId="260"/>
            <ac:cxnSpMk id="29" creationId="{EBA788F3-9BDA-41E4-AFC7-FD01E88987F5}"/>
          </ac:cxnSpMkLst>
        </pc:cxnChg>
        <pc:cxnChg chg="add del mod ord">
          <ac:chgData name="Ugo MANTEL" userId="2d5b7065-31bb-4181-a7f8-a73bf0c30211" providerId="ADAL" clId="{287A013E-B4BE-485E-AE94-C2936752CD18}" dt="2020-09-21T16:41:47.841" v="46469"/>
          <ac:cxnSpMkLst>
            <pc:docMk/>
            <pc:sldMk cId="704880795" sldId="260"/>
            <ac:cxnSpMk id="30" creationId="{50ABECE0-451B-4CF9-8F1A-185E9883613C}"/>
          </ac:cxnSpMkLst>
        </pc:cxnChg>
        <pc:cxnChg chg="add mod ord">
          <ac:chgData name="Ugo MANTEL" userId="2d5b7065-31bb-4181-a7f8-a73bf0c30211" providerId="ADAL" clId="{287A013E-B4BE-485E-AE94-C2936752CD18}" dt="2020-10-12T10:03:51.737" v="114581"/>
          <ac:cxnSpMkLst>
            <pc:docMk/>
            <pc:sldMk cId="704880795" sldId="260"/>
            <ac:cxnSpMk id="31" creationId="{1C896D48-51EC-4442-A4E1-DCC1F34BA54C}"/>
          </ac:cxnSpMkLst>
        </pc:cxnChg>
        <pc:cxnChg chg="add del mod ord">
          <ac:chgData name="Ugo MANTEL" userId="2d5b7065-31bb-4181-a7f8-a73bf0c30211" providerId="ADAL" clId="{287A013E-B4BE-485E-AE94-C2936752CD18}" dt="2020-09-21T16:41:47.852" v="46494"/>
          <ac:cxnSpMkLst>
            <pc:docMk/>
            <pc:sldMk cId="704880795" sldId="260"/>
            <ac:cxnSpMk id="102" creationId="{9F37A256-55A3-4C12-939E-0937E1D75484}"/>
          </ac:cxnSpMkLst>
        </pc:cxnChg>
        <pc:cxnChg chg="add del mod ord">
          <ac:chgData name="Ugo MANTEL" userId="2d5b7065-31bb-4181-a7f8-a73bf0c30211" providerId="ADAL" clId="{287A013E-B4BE-485E-AE94-C2936752CD18}" dt="2020-09-21T16:41:30.696" v="45211"/>
          <ac:cxnSpMkLst>
            <pc:docMk/>
            <pc:sldMk cId="704880795" sldId="260"/>
            <ac:cxnSpMk id="104" creationId="{B908C230-4A5B-4C58-9800-CEDCF2E75921}"/>
          </ac:cxnSpMkLst>
        </pc:cxnChg>
        <pc:cxnChg chg="add mod ord">
          <ac:chgData name="Ugo MANTEL" userId="2d5b7065-31bb-4181-a7f8-a73bf0c30211" providerId="ADAL" clId="{287A013E-B4BE-485E-AE94-C2936752CD18}" dt="2020-10-12T10:03:51.716" v="114535"/>
          <ac:cxnSpMkLst>
            <pc:docMk/>
            <pc:sldMk cId="704880795" sldId="260"/>
            <ac:cxnSpMk id="106" creationId="{DF9242C3-2843-4BC5-B805-4507577E0D5E}"/>
          </ac:cxnSpMkLst>
        </pc:cxnChg>
        <pc:cxnChg chg="add mod ord">
          <ac:chgData name="Ugo MANTEL" userId="2d5b7065-31bb-4181-a7f8-a73bf0c30211" providerId="ADAL" clId="{287A013E-B4BE-485E-AE94-C2936752CD18}" dt="2020-10-12T10:03:51.722" v="114545"/>
          <ac:cxnSpMkLst>
            <pc:docMk/>
            <pc:sldMk cId="704880795" sldId="260"/>
            <ac:cxnSpMk id="107" creationId="{39C484F1-E43F-4E4D-9C97-2CBD104967A0}"/>
          </ac:cxnSpMkLst>
        </pc:cxnChg>
        <pc:cxnChg chg="add mod ord">
          <ac:chgData name="Ugo MANTEL" userId="2d5b7065-31bb-4181-a7f8-a73bf0c30211" providerId="ADAL" clId="{287A013E-B4BE-485E-AE94-C2936752CD18}" dt="2020-10-12T10:03:51.723" v="114547"/>
          <ac:cxnSpMkLst>
            <pc:docMk/>
            <pc:sldMk cId="704880795" sldId="260"/>
            <ac:cxnSpMk id="108" creationId="{1320587B-3478-4926-B292-81F9C801534D}"/>
          </ac:cxnSpMkLst>
        </pc:cxnChg>
        <pc:cxnChg chg="add del mod ord">
          <ac:chgData name="Ugo MANTEL" userId="2d5b7065-31bb-4181-a7f8-a73bf0c30211" providerId="ADAL" clId="{287A013E-B4BE-485E-AE94-C2936752CD18}" dt="2020-09-21T17:06:53.498" v="61053"/>
          <ac:cxnSpMkLst>
            <pc:docMk/>
            <pc:sldMk cId="704880795" sldId="260"/>
            <ac:cxnSpMk id="109" creationId="{EED6FEB9-88AC-466B-89E2-B23236C15DB8}"/>
          </ac:cxnSpMkLst>
        </pc:cxnChg>
        <pc:cxnChg chg="add del mod ord">
          <ac:chgData name="Ugo MANTEL" userId="2d5b7065-31bb-4181-a7f8-a73bf0c30211" providerId="ADAL" clId="{287A013E-B4BE-485E-AE94-C2936752CD18}" dt="2020-09-21T17:06:53.500" v="61056"/>
          <ac:cxnSpMkLst>
            <pc:docMk/>
            <pc:sldMk cId="704880795" sldId="260"/>
            <ac:cxnSpMk id="110" creationId="{415B84AB-0B2C-4AFB-8063-B8C49E6F69FA}"/>
          </ac:cxnSpMkLst>
        </pc:cxnChg>
        <pc:cxnChg chg="add mod ord">
          <ac:chgData name="Ugo MANTEL" userId="2d5b7065-31bb-4181-a7f8-a73bf0c30211" providerId="ADAL" clId="{287A013E-B4BE-485E-AE94-C2936752CD18}" dt="2020-10-12T10:03:51.726" v="114555"/>
          <ac:cxnSpMkLst>
            <pc:docMk/>
            <pc:sldMk cId="704880795" sldId="260"/>
            <ac:cxnSpMk id="111" creationId="{32B8B41D-A8D0-4201-A6F4-499628D6A7B9}"/>
          </ac:cxnSpMkLst>
        </pc:cxnChg>
        <pc:cxnChg chg="add mod ord">
          <ac:chgData name="Ugo MANTEL" userId="2d5b7065-31bb-4181-a7f8-a73bf0c30211" providerId="ADAL" clId="{287A013E-B4BE-485E-AE94-C2936752CD18}" dt="2020-10-12T10:03:51.727" v="114557"/>
          <ac:cxnSpMkLst>
            <pc:docMk/>
            <pc:sldMk cId="704880795" sldId="260"/>
            <ac:cxnSpMk id="112" creationId="{35E69E33-F7BC-48B5-BFB9-1AA613BFCD88}"/>
          </ac:cxnSpMkLst>
        </pc:cxnChg>
        <pc:cxnChg chg="add mod ord">
          <ac:chgData name="Ugo MANTEL" userId="2d5b7065-31bb-4181-a7f8-a73bf0c30211" providerId="ADAL" clId="{287A013E-B4BE-485E-AE94-C2936752CD18}" dt="2020-10-12T10:03:51.728" v="114559"/>
          <ac:cxnSpMkLst>
            <pc:docMk/>
            <pc:sldMk cId="704880795" sldId="260"/>
            <ac:cxnSpMk id="113" creationId="{26852F15-9342-407C-BD01-CF98C33A24DE}"/>
          </ac:cxnSpMkLst>
        </pc:cxnChg>
        <pc:cxnChg chg="add mod ord">
          <ac:chgData name="Ugo MANTEL" userId="2d5b7065-31bb-4181-a7f8-a73bf0c30211" providerId="ADAL" clId="{287A013E-B4BE-485E-AE94-C2936752CD18}" dt="2020-10-12T10:03:51.717" v="114537"/>
          <ac:cxnSpMkLst>
            <pc:docMk/>
            <pc:sldMk cId="704880795" sldId="260"/>
            <ac:cxnSpMk id="114" creationId="{C2110883-07E5-439F-A3D5-513B38127C60}"/>
          </ac:cxnSpMkLst>
        </pc:cxnChg>
        <pc:cxnChg chg="add mod ord">
          <ac:chgData name="Ugo MANTEL" userId="2d5b7065-31bb-4181-a7f8-a73bf0c30211" providerId="ADAL" clId="{287A013E-B4BE-485E-AE94-C2936752CD18}" dt="2020-10-12T10:03:51.713" v="114529"/>
          <ac:cxnSpMkLst>
            <pc:docMk/>
            <pc:sldMk cId="704880795" sldId="260"/>
            <ac:cxnSpMk id="115" creationId="{E59DCFEA-4E2E-491D-9868-5C933B455EBD}"/>
          </ac:cxnSpMkLst>
        </pc:cxnChg>
        <pc:cxnChg chg="add mod ord">
          <ac:chgData name="Ugo MANTEL" userId="2d5b7065-31bb-4181-a7f8-a73bf0c30211" providerId="ADAL" clId="{287A013E-B4BE-485E-AE94-C2936752CD18}" dt="2020-10-12T10:03:51.729" v="114561"/>
          <ac:cxnSpMkLst>
            <pc:docMk/>
            <pc:sldMk cId="704880795" sldId="260"/>
            <ac:cxnSpMk id="116" creationId="{16DE21E7-E83D-45B3-9B1F-54123640BF36}"/>
          </ac:cxnSpMkLst>
        </pc:cxnChg>
        <pc:cxnChg chg="add mod ord">
          <ac:chgData name="Ugo MANTEL" userId="2d5b7065-31bb-4181-a7f8-a73bf0c30211" providerId="ADAL" clId="{287A013E-B4BE-485E-AE94-C2936752CD18}" dt="2020-10-12T10:03:51.730" v="114563"/>
          <ac:cxnSpMkLst>
            <pc:docMk/>
            <pc:sldMk cId="704880795" sldId="260"/>
            <ac:cxnSpMk id="117" creationId="{2344ACFE-95B4-4CD8-B2B5-8BBBA91C076B}"/>
          </ac:cxnSpMkLst>
        </pc:cxnChg>
        <pc:cxnChg chg="add mod ord">
          <ac:chgData name="Ugo MANTEL" userId="2d5b7065-31bb-4181-a7f8-a73bf0c30211" providerId="ADAL" clId="{287A013E-B4BE-485E-AE94-C2936752CD18}" dt="2020-10-12T10:03:51.731" v="114565"/>
          <ac:cxnSpMkLst>
            <pc:docMk/>
            <pc:sldMk cId="704880795" sldId="260"/>
            <ac:cxnSpMk id="118" creationId="{3A3A4060-0305-4CD6-AE05-5D2CAB5C8575}"/>
          </ac:cxnSpMkLst>
        </pc:cxnChg>
        <pc:cxnChg chg="add mod ord">
          <ac:chgData name="Ugo MANTEL" userId="2d5b7065-31bb-4181-a7f8-a73bf0c30211" providerId="ADAL" clId="{287A013E-B4BE-485E-AE94-C2936752CD18}" dt="2020-10-12T10:03:51.731" v="114567"/>
          <ac:cxnSpMkLst>
            <pc:docMk/>
            <pc:sldMk cId="704880795" sldId="260"/>
            <ac:cxnSpMk id="119" creationId="{0AB89549-9BD4-4134-A654-B783ADA3429A}"/>
          </ac:cxnSpMkLst>
        </pc:cxnChg>
        <pc:cxnChg chg="add mod ord">
          <ac:chgData name="Ugo MANTEL" userId="2d5b7065-31bb-4181-a7f8-a73bf0c30211" providerId="ADAL" clId="{287A013E-B4BE-485E-AE94-C2936752CD18}" dt="2020-10-12T10:03:51.732" v="114569"/>
          <ac:cxnSpMkLst>
            <pc:docMk/>
            <pc:sldMk cId="704880795" sldId="260"/>
            <ac:cxnSpMk id="120" creationId="{E13F32FE-B587-4149-B54B-694CF29F946A}"/>
          </ac:cxnSpMkLst>
        </pc:cxnChg>
        <pc:cxnChg chg="add mod ord">
          <ac:chgData name="Ugo MANTEL" userId="2d5b7065-31bb-4181-a7f8-a73bf0c30211" providerId="ADAL" clId="{287A013E-B4BE-485E-AE94-C2936752CD18}" dt="2020-10-12T10:03:51.714" v="114531"/>
          <ac:cxnSpMkLst>
            <pc:docMk/>
            <pc:sldMk cId="704880795" sldId="260"/>
            <ac:cxnSpMk id="121" creationId="{31376330-621D-40CF-94C1-B1F2B1C49323}"/>
          </ac:cxnSpMkLst>
        </pc:cxnChg>
        <pc:cxnChg chg="add del mod ord">
          <ac:chgData name="Ugo MANTEL" userId="2d5b7065-31bb-4181-a7f8-a73bf0c30211" providerId="ADAL" clId="{287A013E-B4BE-485E-AE94-C2936752CD18}" dt="2020-09-21T17:06:34.455" v="60475"/>
          <ac:cxnSpMkLst>
            <pc:docMk/>
            <pc:sldMk cId="704880795" sldId="260"/>
            <ac:cxnSpMk id="122" creationId="{785D6E40-B531-4720-A21D-81532C18D9D3}"/>
          </ac:cxnSpMkLst>
        </pc:cxnChg>
        <pc:cxnChg chg="add del mod ord">
          <ac:chgData name="Ugo MANTEL" userId="2d5b7065-31bb-4181-a7f8-a73bf0c30211" providerId="ADAL" clId="{287A013E-B4BE-485E-AE94-C2936752CD18}" dt="2020-09-21T17:06:34.456" v="60479"/>
          <ac:cxnSpMkLst>
            <pc:docMk/>
            <pc:sldMk cId="704880795" sldId="260"/>
            <ac:cxnSpMk id="123" creationId="{446C641B-7062-4C28-948F-A28F41D4FE7F}"/>
          </ac:cxnSpMkLst>
        </pc:cxnChg>
        <pc:cxnChg chg="add del mod ord">
          <ac:chgData name="Ugo MANTEL" userId="2d5b7065-31bb-4181-a7f8-a73bf0c30211" providerId="ADAL" clId="{287A013E-B4BE-485E-AE94-C2936752CD18}" dt="2020-09-21T17:06:53.551" v="61106"/>
          <ac:cxnSpMkLst>
            <pc:docMk/>
            <pc:sldMk cId="704880795" sldId="260"/>
            <ac:cxnSpMk id="131" creationId="{7EECC20B-16F6-4635-894B-1F7001792828}"/>
          </ac:cxnSpMkLst>
        </pc:cxnChg>
        <pc:cxnChg chg="add mod ord">
          <ac:chgData name="Ugo MANTEL" userId="2d5b7065-31bb-4181-a7f8-a73bf0c30211" providerId="ADAL" clId="{287A013E-B4BE-485E-AE94-C2936752CD18}" dt="2020-10-12T10:03:51.735" v="114575"/>
          <ac:cxnSpMkLst>
            <pc:docMk/>
            <pc:sldMk cId="704880795" sldId="260"/>
            <ac:cxnSpMk id="132" creationId="{54A49962-207E-4BBB-B1EB-6A78333C351D}"/>
          </ac:cxnSpMkLst>
        </pc:cxnChg>
        <pc:cxnChg chg="add del mod ord">
          <ac:chgData name="Ugo MANTEL" userId="2d5b7065-31bb-4181-a7f8-a73bf0c30211" providerId="ADAL" clId="{287A013E-B4BE-485E-AE94-C2936752CD18}" dt="2020-09-21T17:06:53.495" v="61048"/>
          <ac:cxnSpMkLst>
            <pc:docMk/>
            <pc:sldMk cId="704880795" sldId="260"/>
            <ac:cxnSpMk id="133" creationId="{0E2E0563-112C-40DC-8E73-664AD44BED90}"/>
          </ac:cxnSpMkLst>
        </pc:cxnChg>
        <pc:cxnChg chg="add del mod ord">
          <ac:chgData name="Ugo MANTEL" userId="2d5b7065-31bb-4181-a7f8-a73bf0c30211" providerId="ADAL" clId="{287A013E-B4BE-485E-AE94-C2936752CD18}" dt="2020-09-21T17:06:53.497" v="61051"/>
          <ac:cxnSpMkLst>
            <pc:docMk/>
            <pc:sldMk cId="704880795" sldId="260"/>
            <ac:cxnSpMk id="134" creationId="{C4F4CF5D-3193-476F-A729-18B28414C2CF}"/>
          </ac:cxnSpMkLst>
        </pc:cxnChg>
        <pc:cxnChg chg="add mod ord">
          <ac:chgData name="Ugo MANTEL" userId="2d5b7065-31bb-4181-a7f8-a73bf0c30211" providerId="ADAL" clId="{287A013E-B4BE-485E-AE94-C2936752CD18}" dt="2020-10-12T10:03:51.734" v="114573"/>
          <ac:cxnSpMkLst>
            <pc:docMk/>
            <pc:sldMk cId="704880795" sldId="260"/>
            <ac:cxnSpMk id="135" creationId="{51FB5474-05FB-42EF-ACAD-7D73EE9E9069}"/>
          </ac:cxnSpMkLst>
        </pc:cxnChg>
        <pc:cxnChg chg="add del mod ord">
          <ac:chgData name="Ugo MANTEL" userId="2d5b7065-31bb-4181-a7f8-a73bf0c30211" providerId="ADAL" clId="{287A013E-B4BE-485E-AE94-C2936752CD18}" dt="2020-09-21T17:06:34.450" v="60470"/>
          <ac:cxnSpMkLst>
            <pc:docMk/>
            <pc:sldMk cId="704880795" sldId="260"/>
            <ac:cxnSpMk id="136" creationId="{D1754847-8D1C-46DF-BB52-5CE7EBC5C643}"/>
          </ac:cxnSpMkLst>
        </pc:cxnChg>
        <pc:cxnChg chg="add del mod ord">
          <ac:chgData name="Ugo MANTEL" userId="2d5b7065-31bb-4181-a7f8-a73bf0c30211" providerId="ADAL" clId="{287A013E-B4BE-485E-AE94-C2936752CD18}" dt="2020-09-21T17:06:34.453" v="60473"/>
          <ac:cxnSpMkLst>
            <pc:docMk/>
            <pc:sldMk cId="704880795" sldId="260"/>
            <ac:cxnSpMk id="137" creationId="{685F1B2F-6DCC-4736-B0FB-F9BD6C192CFD}"/>
          </ac:cxnSpMkLst>
        </pc:cxnChg>
        <pc:cxnChg chg="add del mod ord">
          <ac:chgData name="Ugo MANTEL" userId="2d5b7065-31bb-4181-a7f8-a73bf0c30211" providerId="ADAL" clId="{287A013E-B4BE-485E-AE94-C2936752CD18}" dt="2020-09-21T17:13:41.730" v="62521"/>
          <ac:cxnSpMkLst>
            <pc:docMk/>
            <pc:sldMk cId="704880795" sldId="260"/>
            <ac:cxnSpMk id="187" creationId="{2BE46AEA-C95F-4224-A94E-BF0FB6F95191}"/>
          </ac:cxnSpMkLst>
        </pc:cxnChg>
        <pc:cxnChg chg="add del mod ord">
          <ac:chgData name="Ugo MANTEL" userId="2d5b7065-31bb-4181-a7f8-a73bf0c30211" providerId="ADAL" clId="{287A013E-B4BE-485E-AE94-C2936752CD18}" dt="2020-09-21T17:13:35.976" v="62222"/>
          <ac:cxnSpMkLst>
            <pc:docMk/>
            <pc:sldMk cId="704880795" sldId="260"/>
            <ac:cxnSpMk id="189" creationId="{A2B70A81-8862-4E4F-A3E9-5C1DF3E8048A}"/>
          </ac:cxnSpMkLst>
        </pc:cxnChg>
        <pc:cxnChg chg="add del mod ord">
          <ac:chgData name="Ugo MANTEL" userId="2d5b7065-31bb-4181-a7f8-a73bf0c30211" providerId="ADAL" clId="{287A013E-B4BE-485E-AE94-C2936752CD18}" dt="2020-09-21T17:13:54.440" v="63098"/>
          <ac:cxnSpMkLst>
            <pc:docMk/>
            <pc:sldMk cId="704880795" sldId="260"/>
            <ac:cxnSpMk id="195" creationId="{6E42A525-8379-4B2B-865D-005E0D645259}"/>
          </ac:cxnSpMkLst>
        </pc:cxnChg>
        <pc:cxnChg chg="add del mod ord">
          <ac:chgData name="Ugo MANTEL" userId="2d5b7065-31bb-4181-a7f8-a73bf0c30211" providerId="ADAL" clId="{287A013E-B4BE-485E-AE94-C2936752CD18}" dt="2020-09-21T17:13:57.181" v="63379"/>
          <ac:cxnSpMkLst>
            <pc:docMk/>
            <pc:sldMk cId="704880795" sldId="260"/>
            <ac:cxnSpMk id="198" creationId="{7EA2AB5F-CA95-41A3-ADBE-A56B8F193468}"/>
          </ac:cxnSpMkLst>
        </pc:cxnChg>
        <pc:cxnChg chg="add del mod ord">
          <ac:chgData name="Ugo MANTEL" userId="2d5b7065-31bb-4181-a7f8-a73bf0c30211" providerId="ADAL" clId="{287A013E-B4BE-485E-AE94-C2936752CD18}" dt="2020-09-21T17:13:45.380" v="62668"/>
          <ac:cxnSpMkLst>
            <pc:docMk/>
            <pc:sldMk cId="704880795" sldId="260"/>
            <ac:cxnSpMk id="201" creationId="{71429382-292A-4FDA-9976-B98FAB5D9E99}"/>
          </ac:cxnSpMkLst>
        </pc:cxnChg>
        <pc:cxnChg chg="add del mod ord">
          <ac:chgData name="Ugo MANTEL" userId="2d5b7065-31bb-4181-a7f8-a73bf0c30211" providerId="ADAL" clId="{287A013E-B4BE-485E-AE94-C2936752CD18}" dt="2020-09-21T17:13:49.071" v="62952"/>
          <ac:cxnSpMkLst>
            <pc:docMk/>
            <pc:sldMk cId="704880795" sldId="260"/>
            <ac:cxnSpMk id="203" creationId="{F1DD119C-C3A2-4681-A45B-74D8837137F8}"/>
          </ac:cxnSpMkLst>
        </pc:cxnChg>
        <pc:cxnChg chg="add del mod ord">
          <ac:chgData name="Ugo MANTEL" userId="2d5b7065-31bb-4181-a7f8-a73bf0c30211" providerId="ADAL" clId="{287A013E-B4BE-485E-AE94-C2936752CD18}" dt="2020-09-21T17:13:38.788" v="62372"/>
          <ac:cxnSpMkLst>
            <pc:docMk/>
            <pc:sldMk cId="704880795" sldId="260"/>
            <ac:cxnSpMk id="219" creationId="{91555D13-665A-431D-B5CF-0A2A20386B52}"/>
          </ac:cxnSpMkLst>
        </pc:cxnChg>
      </pc:sldChg>
      <pc:sldChg chg="addSp delSp modSp add mod">
        <pc:chgData name="Ugo MANTEL" userId="2d5b7065-31bb-4181-a7f8-a73bf0c30211" providerId="ADAL" clId="{287A013E-B4BE-485E-AE94-C2936752CD18}" dt="2020-10-12T11:07:29.675" v="116257"/>
        <pc:sldMkLst>
          <pc:docMk/>
          <pc:sldMk cId="2770794833" sldId="261"/>
        </pc:sldMkLst>
        <pc:spChg chg="mod">
          <ac:chgData name="Ugo MANTEL" userId="2d5b7065-31bb-4181-a7f8-a73bf0c30211" providerId="ADAL" clId="{287A013E-B4BE-485E-AE94-C2936752CD18}" dt="2020-10-12T11:07:29.615" v="116131"/>
          <ac:spMkLst>
            <pc:docMk/>
            <pc:sldMk cId="2770794833" sldId="261"/>
            <ac:spMk id="2" creationId="{5FB7E987-01B8-492B-B78E-0EA088CC8C8A}"/>
          </ac:spMkLst>
        </pc:spChg>
        <pc:spChg chg="mod ord">
          <ac:chgData name="Ugo MANTEL" userId="2d5b7065-31bb-4181-a7f8-a73bf0c30211" providerId="ADAL" clId="{287A013E-B4BE-485E-AE94-C2936752CD18}" dt="2020-10-12T11:07:29.616" v="116133"/>
          <ac:spMkLst>
            <pc:docMk/>
            <pc:sldMk cId="2770794833" sldId="261"/>
            <ac:spMk id="3" creationId="{B6CB9626-71CD-4BA3-B2F8-3277490C0DFB}"/>
          </ac:spMkLst>
        </pc:spChg>
        <pc:spChg chg="add del mod">
          <ac:chgData name="Ugo MANTEL" userId="2d5b7065-31bb-4181-a7f8-a73bf0c30211" providerId="ADAL" clId="{287A013E-B4BE-485E-AE94-C2936752CD18}" dt="2020-09-23T13:12:07.111" v="75586"/>
          <ac:spMkLst>
            <pc:docMk/>
            <pc:sldMk cId="2770794833" sldId="261"/>
            <ac:spMk id="4" creationId="{C0D1067A-FA03-48C5-8BA6-661E45FD1197}"/>
          </ac:spMkLst>
        </pc:spChg>
        <pc:spChg chg="mod">
          <ac:chgData name="Ugo MANTEL" userId="2d5b7065-31bb-4181-a7f8-a73bf0c30211" providerId="ADAL" clId="{287A013E-B4BE-485E-AE94-C2936752CD18}" dt="2020-10-12T11:07:29.646" v="116202"/>
          <ac:spMkLst>
            <pc:docMk/>
            <pc:sldMk cId="2770794833" sldId="261"/>
            <ac:spMk id="36" creationId="{C819B29B-5BD2-472C-8BC7-6935824FC920}"/>
          </ac:spMkLst>
        </pc:spChg>
        <pc:spChg chg="mod">
          <ac:chgData name="Ugo MANTEL" userId="2d5b7065-31bb-4181-a7f8-a73bf0c30211" providerId="ADAL" clId="{287A013E-B4BE-485E-AE94-C2936752CD18}" dt="2020-10-12T11:07:29.648" v="116205"/>
          <ac:spMkLst>
            <pc:docMk/>
            <pc:sldMk cId="2770794833" sldId="261"/>
            <ac:spMk id="38" creationId="{A6117674-F5C7-4E96-8E94-2214BAE7CE96}"/>
          </ac:spMkLst>
        </pc:spChg>
        <pc:spChg chg="mod">
          <ac:chgData name="Ugo MANTEL" userId="2d5b7065-31bb-4181-a7f8-a73bf0c30211" providerId="ADAL" clId="{287A013E-B4BE-485E-AE94-C2936752CD18}" dt="2020-10-12T11:07:29.649" v="116210"/>
          <ac:spMkLst>
            <pc:docMk/>
            <pc:sldMk cId="2770794833" sldId="261"/>
            <ac:spMk id="41" creationId="{440C7EC8-B70D-4262-AD6E-8F191E94F44A}"/>
          </ac:spMkLst>
        </pc:spChg>
        <pc:spChg chg="mod ord">
          <ac:chgData name="Ugo MANTEL" userId="2d5b7065-31bb-4181-a7f8-a73bf0c30211" providerId="ADAL" clId="{287A013E-B4BE-485E-AE94-C2936752CD18}" dt="2020-10-12T11:07:29.614" v="116130"/>
          <ac:spMkLst>
            <pc:docMk/>
            <pc:sldMk cId="2770794833" sldId="261"/>
            <ac:spMk id="42" creationId="{1CDC1D26-5559-48E5-A3EA-95A60632EA3F}"/>
          </ac:spMkLst>
        </pc:spChg>
        <pc:spChg chg="mod">
          <ac:chgData name="Ugo MANTEL" userId="2d5b7065-31bb-4181-a7f8-a73bf0c30211" providerId="ADAL" clId="{287A013E-B4BE-485E-AE94-C2936752CD18}" dt="2020-10-12T11:07:29.650" v="116211"/>
          <ac:spMkLst>
            <pc:docMk/>
            <pc:sldMk cId="2770794833" sldId="261"/>
            <ac:spMk id="43" creationId="{DB090A12-4885-4630-9798-0F510F805F63}"/>
          </ac:spMkLst>
        </pc:spChg>
        <pc:spChg chg="mod">
          <ac:chgData name="Ugo MANTEL" userId="2d5b7065-31bb-4181-a7f8-a73bf0c30211" providerId="ADAL" clId="{287A013E-B4BE-485E-AE94-C2936752CD18}" dt="2020-10-12T11:07:29.652" v="116216"/>
          <ac:spMkLst>
            <pc:docMk/>
            <pc:sldMk cId="2770794833" sldId="261"/>
            <ac:spMk id="45" creationId="{7D7444CA-27C7-485C-81DB-FA02C616A8F9}"/>
          </ac:spMkLst>
        </pc:spChg>
        <pc:spChg chg="mod">
          <ac:chgData name="Ugo MANTEL" userId="2d5b7065-31bb-4181-a7f8-a73bf0c30211" providerId="ADAL" clId="{287A013E-B4BE-485E-AE94-C2936752CD18}" dt="2020-10-12T11:07:29.652" v="116218"/>
          <ac:spMkLst>
            <pc:docMk/>
            <pc:sldMk cId="2770794833" sldId="261"/>
            <ac:spMk id="46" creationId="{37C4A892-C96D-4089-A864-8F09519D4CE9}"/>
          </ac:spMkLst>
        </pc:spChg>
        <pc:spChg chg="mod">
          <ac:chgData name="Ugo MANTEL" userId="2d5b7065-31bb-4181-a7f8-a73bf0c30211" providerId="ADAL" clId="{287A013E-B4BE-485E-AE94-C2936752CD18}" dt="2020-10-12T11:07:29.653" v="116222"/>
          <ac:spMkLst>
            <pc:docMk/>
            <pc:sldMk cId="2770794833" sldId="261"/>
            <ac:spMk id="47" creationId="{1B615CD3-BD7C-461C-856B-CDF30EE87556}"/>
          </ac:spMkLst>
        </pc:spChg>
        <pc:spChg chg="mod">
          <ac:chgData name="Ugo MANTEL" userId="2d5b7065-31bb-4181-a7f8-a73bf0c30211" providerId="ADAL" clId="{287A013E-B4BE-485E-AE94-C2936752CD18}" dt="2020-10-12T11:07:29.654" v="116226"/>
          <ac:spMkLst>
            <pc:docMk/>
            <pc:sldMk cId="2770794833" sldId="261"/>
            <ac:spMk id="48" creationId="{A1A34503-BEE4-49AD-A0A6-24A4A4C105E0}"/>
          </ac:spMkLst>
        </pc:spChg>
        <pc:spChg chg="mod">
          <ac:chgData name="Ugo MANTEL" userId="2d5b7065-31bb-4181-a7f8-a73bf0c30211" providerId="ADAL" clId="{287A013E-B4BE-485E-AE94-C2936752CD18}" dt="2020-10-12T11:07:29.655" v="116227"/>
          <ac:spMkLst>
            <pc:docMk/>
            <pc:sldMk cId="2770794833" sldId="261"/>
            <ac:spMk id="49" creationId="{173F7979-4963-4DE4-A943-A7FE77DA18DC}"/>
          </ac:spMkLst>
        </pc:spChg>
        <pc:spChg chg="mod">
          <ac:chgData name="Ugo MANTEL" userId="2d5b7065-31bb-4181-a7f8-a73bf0c30211" providerId="ADAL" clId="{287A013E-B4BE-485E-AE94-C2936752CD18}" dt="2020-10-12T11:07:29.651" v="116213"/>
          <ac:spMkLst>
            <pc:docMk/>
            <pc:sldMk cId="2770794833" sldId="261"/>
            <ac:spMk id="50" creationId="{D72427FF-C6FE-479E-BEE3-0058257BC7AA}"/>
          </ac:spMkLst>
        </pc:spChg>
        <pc:spChg chg="mod">
          <ac:chgData name="Ugo MANTEL" userId="2d5b7065-31bb-4181-a7f8-a73bf0c30211" providerId="ADAL" clId="{287A013E-B4BE-485E-AE94-C2936752CD18}" dt="2020-10-12T11:07:29.648" v="116206"/>
          <ac:spMkLst>
            <pc:docMk/>
            <pc:sldMk cId="2770794833" sldId="261"/>
            <ac:spMk id="51" creationId="{8438C64D-C6D2-4FFC-8822-367F455ABD5D}"/>
          </ac:spMkLst>
        </pc:spChg>
        <pc:spChg chg="mod">
          <ac:chgData name="Ugo MANTEL" userId="2d5b7065-31bb-4181-a7f8-a73bf0c30211" providerId="ADAL" clId="{287A013E-B4BE-485E-AE94-C2936752CD18}" dt="2020-10-12T11:07:29.658" v="116233"/>
          <ac:spMkLst>
            <pc:docMk/>
            <pc:sldMk cId="2770794833" sldId="261"/>
            <ac:spMk id="52" creationId="{8D58C6F9-7147-491D-B22F-AFD5D1FA2664}"/>
          </ac:spMkLst>
        </pc:spChg>
        <pc:spChg chg="mod">
          <ac:chgData name="Ugo MANTEL" userId="2d5b7065-31bb-4181-a7f8-a73bf0c30211" providerId="ADAL" clId="{287A013E-B4BE-485E-AE94-C2936752CD18}" dt="2020-10-12T11:07:29.661" v="116243"/>
          <ac:spMkLst>
            <pc:docMk/>
            <pc:sldMk cId="2770794833" sldId="261"/>
            <ac:spMk id="53" creationId="{495EC0D1-2C95-4ECC-8818-CB2B6BBB692C}"/>
          </ac:spMkLst>
        </pc:spChg>
        <pc:spChg chg="mod">
          <ac:chgData name="Ugo MANTEL" userId="2d5b7065-31bb-4181-a7f8-a73bf0c30211" providerId="ADAL" clId="{287A013E-B4BE-485E-AE94-C2936752CD18}" dt="2020-10-12T11:07:29.644" v="116198"/>
          <ac:spMkLst>
            <pc:docMk/>
            <pc:sldMk cId="2770794833" sldId="261"/>
            <ac:spMk id="56" creationId="{38E7A75D-A70B-4A5D-93D6-596AE5D92F11}"/>
          </ac:spMkLst>
        </pc:spChg>
        <pc:spChg chg="mod">
          <ac:chgData name="Ugo MANTEL" userId="2d5b7065-31bb-4181-a7f8-a73bf0c30211" providerId="ADAL" clId="{287A013E-B4BE-485E-AE94-C2936752CD18}" dt="2020-10-12T11:07:29.658" v="116235"/>
          <ac:spMkLst>
            <pc:docMk/>
            <pc:sldMk cId="2770794833" sldId="261"/>
            <ac:spMk id="61" creationId="{6D78BA14-76CF-4AA2-B9B1-12E00EE02C40}"/>
          </ac:spMkLst>
        </pc:spChg>
        <pc:spChg chg="mod">
          <ac:chgData name="Ugo MANTEL" userId="2d5b7065-31bb-4181-a7f8-a73bf0c30211" providerId="ADAL" clId="{287A013E-B4BE-485E-AE94-C2936752CD18}" dt="2020-10-12T11:07:29.660" v="116241"/>
          <ac:spMkLst>
            <pc:docMk/>
            <pc:sldMk cId="2770794833" sldId="261"/>
            <ac:spMk id="62" creationId="{DDA89CF1-ED96-464B-A95D-B2E5C84A9B05}"/>
          </ac:spMkLst>
        </pc:spChg>
        <pc:spChg chg="mod ord">
          <ac:chgData name="Ugo MANTEL" userId="2d5b7065-31bb-4181-a7f8-a73bf0c30211" providerId="ADAL" clId="{287A013E-B4BE-485E-AE94-C2936752CD18}" dt="2020-10-12T11:07:29.663" v="116246"/>
          <ac:spMkLst>
            <pc:docMk/>
            <pc:sldMk cId="2770794833" sldId="261"/>
            <ac:spMk id="63" creationId="{96547454-1D04-4F76-85D3-8AA4EB372CF9}"/>
          </ac:spMkLst>
        </pc:spChg>
        <pc:spChg chg="mod ord">
          <ac:chgData name="Ugo MANTEL" userId="2d5b7065-31bb-4181-a7f8-a73bf0c30211" providerId="ADAL" clId="{287A013E-B4BE-485E-AE94-C2936752CD18}" dt="2020-10-12T11:07:29.664" v="116250"/>
          <ac:spMkLst>
            <pc:docMk/>
            <pc:sldMk cId="2770794833" sldId="261"/>
            <ac:spMk id="64" creationId="{8EF47CEE-CEB6-4087-B038-3BA7834EDD4D}"/>
          </ac:spMkLst>
        </pc:spChg>
        <pc:spChg chg="mod ord">
          <ac:chgData name="Ugo MANTEL" userId="2d5b7065-31bb-4181-a7f8-a73bf0c30211" providerId="ADAL" clId="{287A013E-B4BE-485E-AE94-C2936752CD18}" dt="2020-10-12T11:07:29.642" v="116192"/>
          <ac:spMkLst>
            <pc:docMk/>
            <pc:sldMk cId="2770794833" sldId="261"/>
            <ac:spMk id="65" creationId="{298C5767-35C8-4A49-BA46-1E02CE8A0598}"/>
          </ac:spMkLst>
        </pc:spChg>
        <pc:spChg chg="mod ord">
          <ac:chgData name="Ugo MANTEL" userId="2d5b7065-31bb-4181-a7f8-a73bf0c30211" providerId="ADAL" clId="{287A013E-B4BE-485E-AE94-C2936752CD18}" dt="2020-10-12T11:07:29.644" v="116197"/>
          <ac:spMkLst>
            <pc:docMk/>
            <pc:sldMk cId="2770794833" sldId="261"/>
            <ac:spMk id="66" creationId="{12E119BA-F1A2-481A-9A53-C6D19CE106B3}"/>
          </ac:spMkLst>
        </pc:spChg>
        <pc:spChg chg="mod ord">
          <ac:chgData name="Ugo MANTEL" userId="2d5b7065-31bb-4181-a7f8-a73bf0c30211" providerId="ADAL" clId="{287A013E-B4BE-485E-AE94-C2936752CD18}" dt="2020-10-12T11:07:29.663" v="116247"/>
          <ac:spMkLst>
            <pc:docMk/>
            <pc:sldMk cId="2770794833" sldId="261"/>
            <ac:spMk id="67" creationId="{ABFC4DDF-C4B3-4DD2-B0B2-1DAB45D236BC}"/>
          </ac:spMkLst>
        </pc:spChg>
        <pc:spChg chg="mod">
          <ac:chgData name="Ugo MANTEL" userId="2d5b7065-31bb-4181-a7f8-a73bf0c30211" providerId="ADAL" clId="{287A013E-B4BE-485E-AE94-C2936752CD18}" dt="2020-10-12T11:07:29.643" v="116193"/>
          <ac:spMkLst>
            <pc:docMk/>
            <pc:sldMk cId="2770794833" sldId="261"/>
            <ac:spMk id="68" creationId="{F699DDB8-B551-46F7-B466-3D6AA739726C}"/>
          </ac:spMkLst>
        </pc:spChg>
        <pc:spChg chg="mod">
          <ac:chgData name="Ugo MANTEL" userId="2d5b7065-31bb-4181-a7f8-a73bf0c30211" providerId="ADAL" clId="{287A013E-B4BE-485E-AE94-C2936752CD18}" dt="2020-10-12T11:07:29.660" v="116240"/>
          <ac:spMkLst>
            <pc:docMk/>
            <pc:sldMk cId="2770794833" sldId="261"/>
            <ac:spMk id="69" creationId="{0DD80383-1195-4C08-B4CC-E4F101EF5A17}"/>
          </ac:spMkLst>
        </pc:spChg>
        <pc:spChg chg="mod ord">
          <ac:chgData name="Ugo MANTEL" userId="2d5b7065-31bb-4181-a7f8-a73bf0c30211" providerId="ADAL" clId="{287A013E-B4BE-485E-AE94-C2936752CD18}" dt="2020-10-12T11:07:29.646" v="116201"/>
          <ac:spMkLst>
            <pc:docMk/>
            <pc:sldMk cId="2770794833" sldId="261"/>
            <ac:spMk id="70" creationId="{DDA7F275-3E91-4672-B746-98CB2DB73E68}"/>
          </ac:spMkLst>
        </pc:spChg>
        <pc:spChg chg="mod">
          <ac:chgData name="Ugo MANTEL" userId="2d5b7065-31bb-4181-a7f8-a73bf0c30211" providerId="ADAL" clId="{287A013E-B4BE-485E-AE94-C2936752CD18}" dt="2020-10-12T11:07:29.664" v="116249"/>
          <ac:spMkLst>
            <pc:docMk/>
            <pc:sldMk cId="2770794833" sldId="261"/>
            <ac:spMk id="71" creationId="{89E90AC5-EA49-47F7-B732-9E84FCDD4BA2}"/>
          </ac:spMkLst>
        </pc:spChg>
        <pc:spChg chg="mod ord">
          <ac:chgData name="Ugo MANTEL" userId="2d5b7065-31bb-4181-a7f8-a73bf0c30211" providerId="ADAL" clId="{287A013E-B4BE-485E-AE94-C2936752CD18}" dt="2020-10-12T11:07:29.662" v="116244"/>
          <ac:spMkLst>
            <pc:docMk/>
            <pc:sldMk cId="2770794833" sldId="261"/>
            <ac:spMk id="72" creationId="{5BC2416C-1277-436F-BF4E-FC0F8DA4C2C2}"/>
          </ac:spMkLst>
        </pc:spChg>
        <pc:spChg chg="mod">
          <ac:chgData name="Ugo MANTEL" userId="2d5b7065-31bb-4181-a7f8-a73bf0c30211" providerId="ADAL" clId="{287A013E-B4BE-485E-AE94-C2936752CD18}" dt="2020-10-12T11:07:29.664" v="116251"/>
          <ac:spMkLst>
            <pc:docMk/>
            <pc:sldMk cId="2770794833" sldId="261"/>
            <ac:spMk id="73" creationId="{D1D17CF5-4598-473B-9D19-1366DB797309}"/>
          </ac:spMkLst>
        </pc:spChg>
        <pc:spChg chg="mod">
          <ac:chgData name="Ugo MANTEL" userId="2d5b7065-31bb-4181-a7f8-a73bf0c30211" providerId="ADAL" clId="{287A013E-B4BE-485E-AE94-C2936752CD18}" dt="2020-10-12T11:07:29.647" v="116203"/>
          <ac:spMkLst>
            <pc:docMk/>
            <pc:sldMk cId="2770794833" sldId="261"/>
            <ac:spMk id="74" creationId="{3CD5DB7B-0394-4BB0-829E-3BF0C288B5A5}"/>
          </ac:spMkLst>
        </pc:spChg>
        <pc:spChg chg="mod">
          <ac:chgData name="Ugo MANTEL" userId="2d5b7065-31bb-4181-a7f8-a73bf0c30211" providerId="ADAL" clId="{287A013E-B4BE-485E-AE94-C2936752CD18}" dt="2020-10-12T11:07:29.643" v="116194"/>
          <ac:spMkLst>
            <pc:docMk/>
            <pc:sldMk cId="2770794833" sldId="261"/>
            <ac:spMk id="75" creationId="{7BE01F4C-A047-4D91-B3E6-1EBF50A89DB2}"/>
          </ac:spMkLst>
        </pc:spChg>
        <pc:spChg chg="mod">
          <ac:chgData name="Ugo MANTEL" userId="2d5b7065-31bb-4181-a7f8-a73bf0c30211" providerId="ADAL" clId="{287A013E-B4BE-485E-AE94-C2936752CD18}" dt="2020-10-12T11:07:29.660" v="116239"/>
          <ac:spMkLst>
            <pc:docMk/>
            <pc:sldMk cId="2770794833" sldId="261"/>
            <ac:spMk id="78" creationId="{8A55D17A-D6B6-4F77-B657-066C85C70D8B}"/>
          </ac:spMkLst>
        </pc:spChg>
        <pc:spChg chg="mod">
          <ac:chgData name="Ugo MANTEL" userId="2d5b7065-31bb-4181-a7f8-a73bf0c30211" providerId="ADAL" clId="{287A013E-B4BE-485E-AE94-C2936752CD18}" dt="2020-10-12T11:07:29.658" v="116234"/>
          <ac:spMkLst>
            <pc:docMk/>
            <pc:sldMk cId="2770794833" sldId="261"/>
            <ac:spMk id="79" creationId="{B71EC7A3-507F-4E0A-89CF-50FEDFCE41DF}"/>
          </ac:spMkLst>
        </pc:spChg>
        <pc:spChg chg="mod">
          <ac:chgData name="Ugo MANTEL" userId="2d5b7065-31bb-4181-a7f8-a73bf0c30211" providerId="ADAL" clId="{287A013E-B4BE-485E-AE94-C2936752CD18}" dt="2020-10-12T11:07:29.644" v="116199"/>
          <ac:spMkLst>
            <pc:docMk/>
            <pc:sldMk cId="2770794833" sldId="261"/>
            <ac:spMk id="80" creationId="{8343B1C6-0310-425B-A67D-B1D614E07B90}"/>
          </ac:spMkLst>
        </pc:spChg>
        <pc:spChg chg="add mod">
          <ac:chgData name="Ugo MANTEL" userId="2d5b7065-31bb-4181-a7f8-a73bf0c30211" providerId="ADAL" clId="{287A013E-B4BE-485E-AE94-C2936752CD18}" dt="2020-10-12T11:07:29.659" v="116238"/>
          <ac:spMkLst>
            <pc:docMk/>
            <pc:sldMk cId="2770794833" sldId="261"/>
            <ac:spMk id="81" creationId="{8025EFB2-F2F9-4712-BF5E-9453802A457F}"/>
          </ac:spMkLst>
        </pc:spChg>
        <pc:spChg chg="add mod">
          <ac:chgData name="Ugo MANTEL" userId="2d5b7065-31bb-4181-a7f8-a73bf0c30211" providerId="ADAL" clId="{287A013E-B4BE-485E-AE94-C2936752CD18}" dt="2020-10-12T11:07:29.659" v="116237"/>
          <ac:spMkLst>
            <pc:docMk/>
            <pc:sldMk cId="2770794833" sldId="261"/>
            <ac:spMk id="82" creationId="{715F4065-4302-44F3-A4E0-A8A45F9FDB2E}"/>
          </ac:spMkLst>
        </pc:spChg>
        <pc:spChg chg="mod">
          <ac:chgData name="Ugo MANTEL" userId="2d5b7065-31bb-4181-a7f8-a73bf0c30211" providerId="ADAL" clId="{287A013E-B4BE-485E-AE94-C2936752CD18}" dt="2020-10-12T11:07:29.649" v="116208"/>
          <ac:spMkLst>
            <pc:docMk/>
            <pc:sldMk cId="2770794833" sldId="261"/>
            <ac:spMk id="83" creationId="{155C8652-A4AF-47ED-AD4A-C560F4646572}"/>
          </ac:spMkLst>
        </pc:spChg>
        <pc:spChg chg="mod">
          <ac:chgData name="Ugo MANTEL" userId="2d5b7065-31bb-4181-a7f8-a73bf0c30211" providerId="ADAL" clId="{287A013E-B4BE-485E-AE94-C2936752CD18}" dt="2020-10-12T11:07:29.644" v="116195"/>
          <ac:spMkLst>
            <pc:docMk/>
            <pc:sldMk cId="2770794833" sldId="261"/>
            <ac:spMk id="84" creationId="{5668CDA6-9517-4468-8B6B-F311104237DC}"/>
          </ac:spMkLst>
        </pc:spChg>
        <pc:spChg chg="mod ord">
          <ac:chgData name="Ugo MANTEL" userId="2d5b7065-31bb-4181-a7f8-a73bf0c30211" providerId="ADAL" clId="{287A013E-B4BE-485E-AE94-C2936752CD18}" dt="2020-10-12T11:07:29.651" v="116215"/>
          <ac:spMkLst>
            <pc:docMk/>
            <pc:sldMk cId="2770794833" sldId="261"/>
            <ac:spMk id="85" creationId="{EFC96EA3-CEDC-47BB-AFD9-6692C7994F12}"/>
          </ac:spMkLst>
        </pc:spChg>
        <pc:spChg chg="mod ord">
          <ac:chgData name="Ugo MANTEL" userId="2d5b7065-31bb-4181-a7f8-a73bf0c30211" providerId="ADAL" clId="{287A013E-B4BE-485E-AE94-C2936752CD18}" dt="2020-10-12T11:07:29.652" v="116217"/>
          <ac:spMkLst>
            <pc:docMk/>
            <pc:sldMk cId="2770794833" sldId="261"/>
            <ac:spMk id="86" creationId="{14F09620-61FF-4685-B42A-E1A89ABBC3F0}"/>
          </ac:spMkLst>
        </pc:spChg>
        <pc:spChg chg="mod">
          <ac:chgData name="Ugo MANTEL" userId="2d5b7065-31bb-4181-a7f8-a73bf0c30211" providerId="ADAL" clId="{287A013E-B4BE-485E-AE94-C2936752CD18}" dt="2020-10-12T11:07:29.653" v="116221"/>
          <ac:spMkLst>
            <pc:docMk/>
            <pc:sldMk cId="2770794833" sldId="261"/>
            <ac:spMk id="87" creationId="{61B7E99B-048A-4E53-AD9D-AE7E3FEF0D3D}"/>
          </ac:spMkLst>
        </pc:spChg>
        <pc:spChg chg="mod ord">
          <ac:chgData name="Ugo MANTEL" userId="2d5b7065-31bb-4181-a7f8-a73bf0c30211" providerId="ADAL" clId="{287A013E-B4BE-485E-AE94-C2936752CD18}" dt="2020-10-12T11:07:29.654" v="116224"/>
          <ac:spMkLst>
            <pc:docMk/>
            <pc:sldMk cId="2770794833" sldId="261"/>
            <ac:spMk id="88" creationId="{61A701AA-0443-4D76-8F67-EFD99F9C9D13}"/>
          </ac:spMkLst>
        </pc:spChg>
        <pc:spChg chg="mod ord">
          <ac:chgData name="Ugo MANTEL" userId="2d5b7065-31bb-4181-a7f8-a73bf0c30211" providerId="ADAL" clId="{287A013E-B4BE-485E-AE94-C2936752CD18}" dt="2020-10-12T11:07:29.649" v="116209"/>
          <ac:spMkLst>
            <pc:docMk/>
            <pc:sldMk cId="2770794833" sldId="261"/>
            <ac:spMk id="89" creationId="{75BF1C62-6B77-450F-BE62-01A6DA6275D4}"/>
          </ac:spMkLst>
        </pc:spChg>
        <pc:spChg chg="del mod">
          <ac:chgData name="Ugo MANTEL" userId="2d5b7065-31bb-4181-a7f8-a73bf0c30211" providerId="ADAL" clId="{287A013E-B4BE-485E-AE94-C2936752CD18}" dt="2020-09-21T17:57:27.992" v="68443"/>
          <ac:spMkLst>
            <pc:docMk/>
            <pc:sldMk cId="2770794833" sldId="261"/>
            <ac:spMk id="90" creationId="{025749F2-DAB1-4930-8CBA-BF51E2B77500}"/>
          </ac:spMkLst>
        </pc:spChg>
        <pc:spChg chg="add mod">
          <ac:chgData name="Ugo MANTEL" userId="2d5b7065-31bb-4181-a7f8-a73bf0c30211" providerId="ADAL" clId="{287A013E-B4BE-485E-AE94-C2936752CD18}" dt="2020-10-12T11:07:29.650" v="116212"/>
          <ac:spMkLst>
            <pc:docMk/>
            <pc:sldMk cId="2770794833" sldId="261"/>
            <ac:spMk id="90" creationId="{7A22ECA2-A6F3-48A2-B3C1-50925CFA9B1E}"/>
          </ac:spMkLst>
        </pc:spChg>
        <pc:spChg chg="add del mod">
          <ac:chgData name="Ugo MANTEL" userId="2d5b7065-31bb-4181-a7f8-a73bf0c30211" providerId="ADAL" clId="{287A013E-B4BE-485E-AE94-C2936752CD18}" dt="2020-09-23T13:12:06.941" v="75437"/>
          <ac:spMkLst>
            <pc:docMk/>
            <pc:sldMk cId="2770794833" sldId="261"/>
            <ac:spMk id="91" creationId="{F3495E03-A51F-4D4C-B88E-14D2AF29FD0E}"/>
          </ac:spMkLst>
        </pc:spChg>
        <pc:spChg chg="add mod">
          <ac:chgData name="Ugo MANTEL" userId="2d5b7065-31bb-4181-a7f8-a73bf0c30211" providerId="ADAL" clId="{287A013E-B4BE-485E-AE94-C2936752CD18}" dt="2020-10-12T11:07:29.655" v="116228"/>
          <ac:spMkLst>
            <pc:docMk/>
            <pc:sldMk cId="2770794833" sldId="261"/>
            <ac:spMk id="92" creationId="{B09D6A75-52B9-4BFA-93CE-8D5C3093BBB6}"/>
          </ac:spMkLst>
        </pc:spChg>
        <pc:spChg chg="mod">
          <ac:chgData name="Ugo MANTEL" userId="2d5b7065-31bb-4181-a7f8-a73bf0c30211" providerId="ADAL" clId="{287A013E-B4BE-485E-AE94-C2936752CD18}" dt="2020-10-12T11:07:29.661" v="116242"/>
          <ac:spMkLst>
            <pc:docMk/>
            <pc:sldMk cId="2770794833" sldId="261"/>
            <ac:spMk id="94" creationId="{2BB7C84E-84D1-40B0-B2ED-997FC7B15167}"/>
          </ac:spMkLst>
        </pc:spChg>
        <pc:spChg chg="mod ord">
          <ac:chgData name="Ugo MANTEL" userId="2d5b7065-31bb-4181-a7f8-a73bf0c30211" providerId="ADAL" clId="{287A013E-B4BE-485E-AE94-C2936752CD18}" dt="2020-10-12T11:07:29.656" v="116230"/>
          <ac:spMkLst>
            <pc:docMk/>
            <pc:sldMk cId="2770794833" sldId="261"/>
            <ac:spMk id="95" creationId="{F2F488DD-FFAB-4421-A858-131A9C00D9DA}"/>
          </ac:spMkLst>
        </pc:spChg>
        <pc:spChg chg="mod ord">
          <ac:chgData name="Ugo MANTEL" userId="2d5b7065-31bb-4181-a7f8-a73bf0c30211" providerId="ADAL" clId="{287A013E-B4BE-485E-AE94-C2936752CD18}" dt="2020-10-12T11:07:29.657" v="116232"/>
          <ac:spMkLst>
            <pc:docMk/>
            <pc:sldMk cId="2770794833" sldId="261"/>
            <ac:spMk id="96" creationId="{AFFF5B02-4C3E-4C0F-81E2-5980A01EFDBE}"/>
          </ac:spMkLst>
        </pc:spChg>
        <pc:spChg chg="mod">
          <ac:chgData name="Ugo MANTEL" userId="2d5b7065-31bb-4181-a7f8-a73bf0c30211" providerId="ADAL" clId="{287A013E-B4BE-485E-AE94-C2936752CD18}" dt="2020-10-12T11:07:29.654" v="116225"/>
          <ac:spMkLst>
            <pc:docMk/>
            <pc:sldMk cId="2770794833" sldId="261"/>
            <ac:spMk id="97" creationId="{9D8DA086-522B-4030-9CA5-1D73B28200EA}"/>
          </ac:spMkLst>
        </pc:spChg>
        <pc:spChg chg="add del mod">
          <ac:chgData name="Ugo MANTEL" userId="2d5b7065-31bb-4181-a7f8-a73bf0c30211" providerId="ADAL" clId="{287A013E-B4BE-485E-AE94-C2936752CD18}" dt="2020-09-23T13:12:08.974" v="75851"/>
          <ac:spMkLst>
            <pc:docMk/>
            <pc:sldMk cId="2770794833" sldId="261"/>
            <ac:spMk id="98" creationId="{7387AC41-2486-412E-80EF-18C8709B8F48}"/>
          </ac:spMkLst>
        </pc:spChg>
        <pc:spChg chg="add del mod">
          <ac:chgData name="Ugo MANTEL" userId="2d5b7065-31bb-4181-a7f8-a73bf0c30211" providerId="ADAL" clId="{287A013E-B4BE-485E-AE94-C2936752CD18}" dt="2020-10-12T11:07:29.387" v="115865"/>
          <ac:spMkLst>
            <pc:docMk/>
            <pc:sldMk cId="2770794833" sldId="261"/>
            <ac:spMk id="99" creationId="{96241129-8B3A-4CAD-879A-91CB5D55446B}"/>
          </ac:spMkLst>
        </pc:spChg>
        <pc:spChg chg="add mod">
          <ac:chgData name="Ugo MANTEL" userId="2d5b7065-31bb-4181-a7f8-a73bf0c30211" providerId="ADAL" clId="{287A013E-B4BE-485E-AE94-C2936752CD18}" dt="2020-10-12T11:07:29.653" v="116219"/>
          <ac:spMkLst>
            <pc:docMk/>
            <pc:sldMk cId="2770794833" sldId="261"/>
            <ac:spMk id="101" creationId="{CEE11826-F56E-4E67-A972-C3DA3C1497E0}"/>
          </ac:spMkLst>
        </pc:spChg>
        <pc:spChg chg="add mod">
          <ac:chgData name="Ugo MANTEL" userId="2d5b7065-31bb-4181-a7f8-a73bf0c30211" providerId="ADAL" clId="{287A013E-B4BE-485E-AE94-C2936752CD18}" dt="2020-10-12T11:07:29.647" v="116204"/>
          <ac:spMkLst>
            <pc:docMk/>
            <pc:sldMk cId="2770794833" sldId="261"/>
            <ac:spMk id="102" creationId="{D25303E9-E1E5-4906-84DE-CD5B2CF750E7}"/>
          </ac:spMkLst>
        </pc:spChg>
        <pc:spChg chg="add mod">
          <ac:chgData name="Ugo MANTEL" userId="2d5b7065-31bb-4181-a7f8-a73bf0c30211" providerId="ADAL" clId="{287A013E-B4BE-485E-AE94-C2936752CD18}" dt="2020-10-12T11:07:29.648" v="116207"/>
          <ac:spMkLst>
            <pc:docMk/>
            <pc:sldMk cId="2770794833" sldId="261"/>
            <ac:spMk id="103" creationId="{1E634131-431A-4965-8368-10AC00F0FADC}"/>
          </ac:spMkLst>
        </pc:spChg>
        <pc:spChg chg="add mod">
          <ac:chgData name="Ugo MANTEL" userId="2d5b7065-31bb-4181-a7f8-a73bf0c30211" providerId="ADAL" clId="{287A013E-B4BE-485E-AE94-C2936752CD18}" dt="2020-10-12T11:07:29.659" v="116236"/>
          <ac:spMkLst>
            <pc:docMk/>
            <pc:sldMk cId="2770794833" sldId="261"/>
            <ac:spMk id="104" creationId="{2A5F4B67-4D00-4A79-8D33-48C80915D6FF}"/>
          </ac:spMkLst>
        </pc:spChg>
        <pc:spChg chg="add del mod ord">
          <ac:chgData name="Ugo MANTEL" userId="2d5b7065-31bb-4181-a7f8-a73bf0c30211" providerId="ADAL" clId="{287A013E-B4BE-485E-AE94-C2936752CD18}" dt="2020-09-23T13:16:51.078" v="79105"/>
          <ac:spMkLst>
            <pc:docMk/>
            <pc:sldMk cId="2770794833" sldId="261"/>
            <ac:spMk id="105" creationId="{9838ED0D-D9CB-4ACF-86B1-69DA86FA6623}"/>
          </ac:spMkLst>
        </pc:spChg>
        <pc:spChg chg="add mod">
          <ac:chgData name="Ugo MANTEL" userId="2d5b7065-31bb-4181-a7f8-a73bf0c30211" providerId="ADAL" clId="{287A013E-B4BE-485E-AE94-C2936752CD18}" dt="2020-10-12T11:07:29.653" v="116220"/>
          <ac:spMkLst>
            <pc:docMk/>
            <pc:sldMk cId="2770794833" sldId="261"/>
            <ac:spMk id="110" creationId="{0A4C38E5-0C6B-4EAC-B171-A24C9E4C9379}"/>
          </ac:spMkLst>
        </pc:spChg>
        <pc:spChg chg="add mod">
          <ac:chgData name="Ugo MANTEL" userId="2d5b7065-31bb-4181-a7f8-a73bf0c30211" providerId="ADAL" clId="{287A013E-B4BE-485E-AE94-C2936752CD18}" dt="2020-10-12T11:07:29.663" v="116248"/>
          <ac:spMkLst>
            <pc:docMk/>
            <pc:sldMk cId="2770794833" sldId="261"/>
            <ac:spMk id="122" creationId="{EE182495-6975-4FEE-9D4C-171886E4EC82}"/>
          </ac:spMkLst>
        </pc:spChg>
        <pc:spChg chg="add mod">
          <ac:chgData name="Ugo MANTEL" userId="2d5b7065-31bb-4181-a7f8-a73bf0c30211" providerId="ADAL" clId="{287A013E-B4BE-485E-AE94-C2936752CD18}" dt="2020-10-12T11:07:29.666" v="116255"/>
          <ac:spMkLst>
            <pc:docMk/>
            <pc:sldMk cId="2770794833" sldId="261"/>
            <ac:spMk id="123" creationId="{FA05FB5D-A95F-4D54-8ADD-94DEC6045C3D}"/>
          </ac:spMkLst>
        </pc:spChg>
        <pc:spChg chg="add mod">
          <ac:chgData name="Ugo MANTEL" userId="2d5b7065-31bb-4181-a7f8-a73bf0c30211" providerId="ADAL" clId="{287A013E-B4BE-485E-AE94-C2936752CD18}" dt="2020-10-12T11:07:29.657" v="116231"/>
          <ac:spMkLst>
            <pc:docMk/>
            <pc:sldMk cId="2770794833" sldId="261"/>
            <ac:spMk id="124" creationId="{7AD96A6C-2204-4E2D-AC64-E5DC901F2F54}"/>
          </ac:spMkLst>
        </pc:spChg>
        <pc:spChg chg="add del mod ord">
          <ac:chgData name="Ugo MANTEL" userId="2d5b7065-31bb-4181-a7f8-a73bf0c30211" providerId="ADAL" clId="{287A013E-B4BE-485E-AE94-C2936752CD18}" dt="2020-09-23T13:16:57.051" v="79547"/>
          <ac:spMkLst>
            <pc:docMk/>
            <pc:sldMk cId="2770794833" sldId="261"/>
            <ac:spMk id="125" creationId="{2F3069A0-E949-4DE2-A85D-5738824A3AF5}"/>
          </ac:spMkLst>
        </pc:spChg>
        <pc:spChg chg="del mod">
          <ac:chgData name="Ugo MANTEL" userId="2d5b7065-31bb-4181-a7f8-a73bf0c30211" providerId="ADAL" clId="{287A013E-B4BE-485E-AE94-C2936752CD18}" dt="2020-09-21T17:57:27.993" v="68445"/>
          <ac:spMkLst>
            <pc:docMk/>
            <pc:sldMk cId="2770794833" sldId="261"/>
            <ac:spMk id="127" creationId="{15710920-A989-4E72-8303-6C47701AE345}"/>
          </ac:spMkLst>
        </pc:spChg>
        <pc:spChg chg="del mod">
          <ac:chgData name="Ugo MANTEL" userId="2d5b7065-31bb-4181-a7f8-a73bf0c30211" providerId="ADAL" clId="{287A013E-B4BE-485E-AE94-C2936752CD18}" dt="2020-09-21T17:57:27.993" v="68444"/>
          <ac:spMkLst>
            <pc:docMk/>
            <pc:sldMk cId="2770794833" sldId="261"/>
            <ac:spMk id="129" creationId="{FB6DDB69-F5EB-40BF-B875-11174CE7148E}"/>
          </ac:spMkLst>
        </pc:spChg>
        <pc:spChg chg="add mod">
          <ac:chgData name="Ugo MANTEL" userId="2d5b7065-31bb-4181-a7f8-a73bf0c30211" providerId="ADAL" clId="{287A013E-B4BE-485E-AE94-C2936752CD18}" dt="2020-10-12T11:07:29.665" v="116253"/>
          <ac:spMkLst>
            <pc:docMk/>
            <pc:sldMk cId="2770794833" sldId="261"/>
            <ac:spMk id="139" creationId="{1888F5DB-0FE1-4F4F-84C6-4F0D46C8A880}"/>
          </ac:spMkLst>
        </pc:spChg>
        <pc:spChg chg="add mod">
          <ac:chgData name="Ugo MANTEL" userId="2d5b7065-31bb-4181-a7f8-a73bf0c30211" providerId="ADAL" clId="{287A013E-B4BE-485E-AE94-C2936752CD18}" dt="2020-10-12T11:07:29.665" v="116254"/>
          <ac:spMkLst>
            <pc:docMk/>
            <pc:sldMk cId="2770794833" sldId="261"/>
            <ac:spMk id="141" creationId="{6DDEC56A-606E-43B9-B9BC-64026E95D7F9}"/>
          </ac:spMkLst>
        </pc:spChg>
        <pc:spChg chg="add mod">
          <ac:chgData name="Ugo MANTEL" userId="2d5b7065-31bb-4181-a7f8-a73bf0c30211" providerId="ADAL" clId="{287A013E-B4BE-485E-AE94-C2936752CD18}" dt="2020-10-12T11:07:29.664" v="116252"/>
          <ac:spMkLst>
            <pc:docMk/>
            <pc:sldMk cId="2770794833" sldId="261"/>
            <ac:spMk id="143" creationId="{AC177666-BF6C-4134-8D11-EC007C3E54E6}"/>
          </ac:spMkLst>
        </pc:spChg>
        <pc:graphicFrameChg chg="mod ord">
          <ac:chgData name="Ugo MANTEL" userId="2d5b7065-31bb-4181-a7f8-a73bf0c30211" providerId="ADAL" clId="{287A013E-B4BE-485E-AE94-C2936752CD18}" dt="2020-10-12T11:07:29.675" v="116257"/>
          <ac:graphicFrameMkLst>
            <pc:docMk/>
            <pc:sldMk cId="2770794833" sldId="261"/>
            <ac:graphicFrameMk id="44" creationId="{F9AE5294-21FB-443B-AC9E-47D53F909727}"/>
          </ac:graphicFrameMkLst>
        </pc:graphicFrameChg>
        <pc:graphicFrameChg chg="add mod ord">
          <ac:chgData name="Ugo MANTEL" userId="2d5b7065-31bb-4181-a7f8-a73bf0c30211" providerId="ADAL" clId="{287A013E-B4BE-485E-AE94-C2936752CD18}" dt="2020-09-21T17:52:01.215" v="63866" actId="1076"/>
          <ac:graphicFrameMkLst>
            <pc:docMk/>
            <pc:sldMk cId="2770794833" sldId="261"/>
            <ac:graphicFrameMk id="82" creationId="{5BFBBC3B-E90B-4F82-BC58-9B93B802E3A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2:54.907" v="64366"/>
          <ac:graphicFrameMkLst>
            <pc:docMk/>
            <pc:sldMk cId="2770794833" sldId="261"/>
            <ac:graphicFrameMk id="91" creationId="{8596289A-5524-46E4-A4DD-3EE8C83208D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3:01.013" v="64515"/>
          <ac:graphicFrameMkLst>
            <pc:docMk/>
            <pc:sldMk cId="2770794833" sldId="261"/>
            <ac:graphicFrameMk id="92" creationId="{9BDB4183-9371-4DE9-A930-B0F858A7D2D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6:10:37.054" v="82527"/>
          <ac:graphicFrameMkLst>
            <pc:docMk/>
            <pc:sldMk cId="2770794833" sldId="261"/>
            <ac:graphicFrameMk id="93" creationId="{1B07A926-0C40-40A5-8517-32CF664AD14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10-12T11:07:19.593" v="115300"/>
          <ac:graphicFrameMkLst>
            <pc:docMk/>
            <pc:sldMk cId="2770794833" sldId="261"/>
            <ac:graphicFrameMk id="93" creationId="{4F5ED352-426F-4F8A-BDAF-AC07C80EFAA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3:05.814" v="64664"/>
          <ac:graphicFrameMkLst>
            <pc:docMk/>
            <pc:sldMk cId="2770794833" sldId="261"/>
            <ac:graphicFrameMk id="93" creationId="{771CE5B8-BDA9-4E30-A36A-EE61D70AEF7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2:07.236" v="75721"/>
          <ac:graphicFrameMkLst>
            <pc:docMk/>
            <pc:sldMk cId="2770794833" sldId="261"/>
            <ac:graphicFrameMk id="93" creationId="{AD8EA93A-0137-4182-9E56-322A51012FB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8T17:50:31.815" v="91537"/>
          <ac:graphicFrameMkLst>
            <pc:docMk/>
            <pc:sldMk cId="2770794833" sldId="261"/>
            <ac:graphicFrameMk id="93" creationId="{E6D515E1-4816-48A7-A734-DF713F6B23A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3:09.424" v="64813"/>
          <ac:graphicFrameMkLst>
            <pc:docMk/>
            <pc:sldMk cId="2770794833" sldId="261"/>
            <ac:graphicFrameMk id="98" creationId="{3388F745-27E0-4049-8B27-E75C4E25289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8T17:50:27.862" v="91383"/>
          <ac:graphicFrameMkLst>
            <pc:docMk/>
            <pc:sldMk cId="2770794833" sldId="261"/>
            <ac:graphicFrameMk id="98" creationId="{5526FB31-E907-4F7E-95AF-6638A4DB8B0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10-12T11:07:25" v="115725"/>
          <ac:graphicFrameMkLst>
            <pc:docMk/>
            <pc:sldMk cId="2770794833" sldId="261"/>
            <ac:graphicFrameMk id="98" creationId="{D057FB1A-9007-4F15-B7DE-88E95C5BD1A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3:13.968" v="64962"/>
          <ac:graphicFrameMkLst>
            <pc:docMk/>
            <pc:sldMk cId="2770794833" sldId="261"/>
            <ac:graphicFrameMk id="99" creationId="{463072EE-DFD7-434B-B939-01727CF8FE1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2:09.192" v="76080"/>
          <ac:graphicFrameMkLst>
            <pc:docMk/>
            <pc:sldMk cId="2770794833" sldId="261"/>
            <ac:graphicFrameMk id="99" creationId="{C2EF40A6-A4F7-432E-B361-116FEA20977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8T17:50:35.194" v="91690"/>
          <ac:graphicFrameMkLst>
            <pc:docMk/>
            <pc:sldMk cId="2770794833" sldId="261"/>
            <ac:graphicFrameMk id="99" creationId="{E22413A2-0D80-424D-AB14-F2663B98236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3:20.850" v="65139"/>
          <ac:graphicFrameMkLst>
            <pc:docMk/>
            <pc:sldMk cId="2770794833" sldId="261"/>
            <ac:graphicFrameMk id="100" creationId="{226B4D44-C2C8-4B71-B3DA-8E6797B18E3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2:38.466" v="76353"/>
          <ac:graphicFrameMkLst>
            <pc:docMk/>
            <pc:sldMk cId="2770794833" sldId="261"/>
            <ac:graphicFrameMk id="100" creationId="{3550C300-B37D-493A-8675-26E02332A86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8T17:50:39.987" v="91843"/>
          <ac:graphicFrameMkLst>
            <pc:docMk/>
            <pc:sldMk cId="2770794833" sldId="261"/>
            <ac:graphicFrameMk id="100" creationId="{5CD92952-6B43-439F-BBF8-8DB2F843654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10-12T11:07:29.590" v="116121"/>
          <ac:graphicFrameMkLst>
            <pc:docMk/>
            <pc:sldMk cId="2770794833" sldId="261"/>
            <ac:graphicFrameMk id="100" creationId="{FA32BD70-1505-40C3-A126-52E175963DD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3:22.715" v="65316"/>
          <ac:graphicFrameMkLst>
            <pc:docMk/>
            <pc:sldMk cId="2770794833" sldId="261"/>
            <ac:graphicFrameMk id="101" creationId="{32C2FF43-D2BB-4575-AF42-81A27A1597C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3:25.551" v="65493"/>
          <ac:graphicFrameMkLst>
            <pc:docMk/>
            <pc:sldMk cId="2770794833" sldId="261"/>
            <ac:graphicFrameMk id="102" creationId="{3382EAC8-A461-4516-A74A-70AFBE777B7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3:30.781" v="65640"/>
          <ac:graphicFrameMkLst>
            <pc:docMk/>
            <pc:sldMk cId="2770794833" sldId="261"/>
            <ac:graphicFrameMk id="103" creationId="{6207D9E8-2811-485A-A0AB-55C5F6DD192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3:33.344" v="65787"/>
          <ac:graphicFrameMkLst>
            <pc:docMk/>
            <pc:sldMk cId="2770794833" sldId="261"/>
            <ac:graphicFrameMk id="104" creationId="{CBFBA5EC-9922-4C11-87BE-5141101A251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3:47.011" v="65934"/>
          <ac:graphicFrameMkLst>
            <pc:docMk/>
            <pc:sldMk cId="2770794833" sldId="261"/>
            <ac:graphicFrameMk id="105" creationId="{4FE4D338-B875-4C87-803E-7DD3CD7611D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8T17:50:43.106" v="91996"/>
          <ac:graphicFrameMkLst>
            <pc:docMk/>
            <pc:sldMk cId="2770794833" sldId="261"/>
            <ac:graphicFrameMk id="105" creationId="{6950F1A3-C472-42B1-8417-EAF6D0387ED4}"/>
          </ac:graphicFrameMkLst>
        </pc:graphicFrameChg>
        <pc:graphicFrameChg chg="add mod ord">
          <ac:chgData name="Ugo MANTEL" userId="2d5b7065-31bb-4181-a7f8-a73bf0c30211" providerId="ADAL" clId="{287A013E-B4BE-485E-AE94-C2936752CD18}" dt="2020-10-12T11:07:29.636" v="116179"/>
          <ac:graphicFrameMkLst>
            <pc:docMk/>
            <pc:sldMk cId="2770794833" sldId="261"/>
            <ac:graphicFrameMk id="105" creationId="{95039089-9AEE-4ECA-9AF9-413E29C9A1B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8T17:50:47.513" v="92149"/>
          <ac:graphicFrameMkLst>
            <pc:docMk/>
            <pc:sldMk cId="2770794833" sldId="261"/>
            <ac:graphicFrameMk id="109" creationId="{6F743874-042A-4912-AA94-8CA1466127E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3:52.409" v="66111"/>
          <ac:graphicFrameMkLst>
            <pc:docMk/>
            <pc:sldMk cId="2770794833" sldId="261"/>
            <ac:graphicFrameMk id="109" creationId="{8C900474-10A1-4DF0-8F2E-AE88B797DFF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3:03.485" v="76631"/>
          <ac:graphicFrameMkLst>
            <pc:docMk/>
            <pc:sldMk cId="2770794833" sldId="261"/>
            <ac:graphicFrameMk id="109" creationId="{BBD2F49E-C3CB-4DB0-8CC9-665F59A013D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3:57.579" v="66288"/>
          <ac:graphicFrameMkLst>
            <pc:docMk/>
            <pc:sldMk cId="2770794833" sldId="261"/>
            <ac:graphicFrameMk id="110" creationId="{83E3B962-C053-43F2-9D16-515C084B8F5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5:31.994" v="67434"/>
          <ac:graphicFrameMkLst>
            <pc:docMk/>
            <pc:sldMk cId="2770794833" sldId="261"/>
            <ac:graphicFrameMk id="122" creationId="{BA5A0030-347A-4FF6-9015-48716E8D5ACF}"/>
          </ac:graphicFrameMkLst>
        </pc:graphicFrameChg>
        <pc:graphicFrameChg chg="add mod ord">
          <ac:chgData name="Ugo MANTEL" userId="2d5b7065-31bb-4181-a7f8-a73bf0c30211" providerId="ADAL" clId="{287A013E-B4BE-485E-AE94-C2936752CD18}" dt="2020-09-21T17:54:15.558" v="66642"/>
          <ac:graphicFrameMkLst>
            <pc:docMk/>
            <pc:sldMk cId="2770794833" sldId="261"/>
            <ac:graphicFrameMk id="123" creationId="{F44013EC-3648-4497-8AF4-50B468F20E8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6:33.873" v="67562"/>
          <ac:graphicFrameMkLst>
            <pc:docMk/>
            <pc:sldMk cId="2770794833" sldId="261"/>
            <ac:graphicFrameMk id="124" creationId="{5007D1F2-2291-43AE-83F6-13410DF5865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6:36.952" v="67688"/>
          <ac:graphicFrameMkLst>
            <pc:docMk/>
            <pc:sldMk cId="2770794833" sldId="261"/>
            <ac:graphicFrameMk id="125" creationId="{44C81749-43B9-40B4-B0F0-2F2B90E9167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10-12T10:03:52.874" v="114972"/>
          <ac:graphicFrameMkLst>
            <pc:docMk/>
            <pc:sldMk cId="2770794833" sldId="261"/>
            <ac:graphicFrameMk id="125" creationId="{BBF0335B-A989-43E3-96AC-410216A2D5D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6:42.926" v="67814"/>
          <ac:graphicFrameMkLst>
            <pc:docMk/>
            <pc:sldMk cId="2770794833" sldId="261"/>
            <ac:graphicFrameMk id="126" creationId="{866F92FD-6AE0-44F2-A26E-374C7105982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3:46.765" v="76775"/>
          <ac:graphicFrameMkLst>
            <pc:docMk/>
            <pc:sldMk cId="2770794833" sldId="261"/>
            <ac:graphicFrameMk id="126" creationId="{CF057101-A139-4D7E-9E68-18B2038AE2C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3:48.268" v="76919"/>
          <ac:graphicFrameMkLst>
            <pc:docMk/>
            <pc:sldMk cId="2770794833" sldId="261"/>
            <ac:graphicFrameMk id="127" creationId="{72659255-FE2B-42AA-B38F-98DCF482947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4:37.797" v="77063"/>
          <ac:graphicFrameMkLst>
            <pc:docMk/>
            <pc:sldMk cId="2770794833" sldId="261"/>
            <ac:graphicFrameMk id="128" creationId="{C24A087F-883C-435B-9C96-0D02D414A44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6:45.482" v="67940"/>
          <ac:graphicFrameMkLst>
            <pc:docMk/>
            <pc:sldMk cId="2770794833" sldId="261"/>
            <ac:graphicFrameMk id="128" creationId="{CCF3146C-095C-4026-8C83-1430965A115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4:52.935" v="77208"/>
          <ac:graphicFrameMkLst>
            <pc:docMk/>
            <pc:sldMk cId="2770794833" sldId="261"/>
            <ac:graphicFrameMk id="129" creationId="{8E6CF53E-D445-4E02-BC17-0B186E73DFD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6:49.232" v="68066"/>
          <ac:graphicFrameMkLst>
            <pc:docMk/>
            <pc:sldMk cId="2770794833" sldId="261"/>
            <ac:graphicFrameMk id="130" creationId="{8CA99FFB-1A01-4DAF-8908-46E94671BC3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5:03.643" v="77352"/>
          <ac:graphicFrameMkLst>
            <pc:docMk/>
            <pc:sldMk cId="2770794833" sldId="261"/>
            <ac:graphicFrameMk id="130" creationId="{A61AD06D-C2BF-4E5E-9476-A3C75672B68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5:12.056" v="77496"/>
          <ac:graphicFrameMkLst>
            <pc:docMk/>
            <pc:sldMk cId="2770794833" sldId="261"/>
            <ac:graphicFrameMk id="131" creationId="{A8084672-7AEC-49CA-B316-F2CCE59B6DF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6:52.401" v="68192"/>
          <ac:graphicFrameMkLst>
            <pc:docMk/>
            <pc:sldMk cId="2770794833" sldId="261"/>
            <ac:graphicFrameMk id="131" creationId="{B5C253A4-1BB1-4C46-BCAF-A3AFD306547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6:57.085" v="68318"/>
          <ac:graphicFrameMkLst>
            <pc:docMk/>
            <pc:sldMk cId="2770794833" sldId="261"/>
            <ac:graphicFrameMk id="133" creationId="{A1722858-C8FC-471F-B042-F199BE515C7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5:14.736" v="77640"/>
          <ac:graphicFrameMkLst>
            <pc:docMk/>
            <pc:sldMk cId="2770794833" sldId="261"/>
            <ac:graphicFrameMk id="133" creationId="{E5AF681A-6285-4BF8-950F-8D17AEAA37B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7:28.030" v="68447"/>
          <ac:graphicFrameMkLst>
            <pc:docMk/>
            <pc:sldMk cId="2770794833" sldId="261"/>
            <ac:graphicFrameMk id="134" creationId="{1C2C967F-E1C9-4596-A3F5-7773FFBC909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5:38.267" v="77785"/>
          <ac:graphicFrameMkLst>
            <pc:docMk/>
            <pc:sldMk cId="2770794833" sldId="261"/>
            <ac:graphicFrameMk id="134" creationId="{F20AFEDC-8157-4441-9C5E-B4842C3025F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5:51.781" v="77930"/>
          <ac:graphicFrameMkLst>
            <pc:docMk/>
            <pc:sldMk cId="2770794833" sldId="261"/>
            <ac:graphicFrameMk id="135" creationId="{5371A752-8F50-46BA-B8B4-F69243F8B38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5:56.042" v="78075"/>
          <ac:graphicFrameMkLst>
            <pc:docMk/>
            <pc:sldMk cId="2770794833" sldId="261"/>
            <ac:graphicFrameMk id="136" creationId="{891D7A1A-26AF-4206-804D-14878E64305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9:25.317" v="70417"/>
          <ac:graphicFrameMkLst>
            <pc:docMk/>
            <pc:sldMk cId="2770794833" sldId="261"/>
            <ac:graphicFrameMk id="136" creationId="{E9E312D3-5DD9-4B7D-BE48-5AF0709F12A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5:59.461" v="78220"/>
          <ac:graphicFrameMkLst>
            <pc:docMk/>
            <pc:sldMk cId="2770794833" sldId="261"/>
            <ac:graphicFrameMk id="137" creationId="{5225DBBF-DEA9-4570-A46E-4A8A486838BA}"/>
          </ac:graphicFrameMkLst>
        </pc:graphicFrameChg>
        <pc:graphicFrameChg chg="add mod ord">
          <ac:chgData name="Ugo MANTEL" userId="2d5b7065-31bb-4181-a7f8-a73bf0c30211" providerId="ADAL" clId="{287A013E-B4BE-485E-AE94-C2936752CD18}" dt="2020-09-21T17:58:28.931" v="69290"/>
          <ac:graphicFrameMkLst>
            <pc:docMk/>
            <pc:sldMk cId="2770794833" sldId="261"/>
            <ac:graphicFrameMk id="137" creationId="{992FB0F7-9053-4380-B8CD-E86802B957D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6:03.814" v="78365"/>
          <ac:graphicFrameMkLst>
            <pc:docMk/>
            <pc:sldMk cId="2770794833" sldId="261"/>
            <ac:graphicFrameMk id="138" creationId="{9D7D10A5-50AF-4392-B679-FC74E8330593}"/>
          </ac:graphicFrameMkLst>
        </pc:graphicFrameChg>
        <pc:graphicFrameChg chg="add mod ord">
          <ac:chgData name="Ugo MANTEL" userId="2d5b7065-31bb-4181-a7f8-a73bf0c30211" providerId="ADAL" clId="{287A013E-B4BE-485E-AE94-C2936752CD18}" dt="2020-09-21T17:58:45.833" v="70170"/>
          <ac:graphicFrameMkLst>
            <pc:docMk/>
            <pc:sldMk cId="2770794833" sldId="261"/>
            <ac:graphicFrameMk id="138" creationId="{FEFF22A2-48E8-40F7-922B-361B804C5F6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9:28.184" v="70567"/>
          <ac:graphicFrameMkLst>
            <pc:docMk/>
            <pc:sldMk cId="2770794833" sldId="261"/>
            <ac:graphicFrameMk id="140" creationId="{3F8C0CF5-A086-430A-A4CA-8BF850FF08C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6:14.214" v="78510"/>
          <ac:graphicFrameMkLst>
            <pc:docMk/>
            <pc:sldMk cId="2770794833" sldId="261"/>
            <ac:graphicFrameMk id="140" creationId="{45EDB3FF-3AFF-4194-B7B2-3AED7822A20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1T17:59:32.815" v="70718"/>
          <ac:graphicFrameMkLst>
            <pc:docMk/>
            <pc:sldMk cId="2770794833" sldId="261"/>
            <ac:graphicFrameMk id="142" creationId="{56B6CDE9-723A-4154-84D4-87AAED180FF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6:18.716" v="78655"/>
          <ac:graphicFrameMkLst>
            <pc:docMk/>
            <pc:sldMk cId="2770794833" sldId="261"/>
            <ac:graphicFrameMk id="142" creationId="{71D68E3B-5453-4739-95AB-45FD50AE386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1:58.494" v="75304"/>
          <ac:graphicFrameMkLst>
            <pc:docMk/>
            <pc:sldMk cId="2770794833" sldId="261"/>
            <ac:graphicFrameMk id="144" creationId="{D2AF030E-19F8-431A-8EB1-1EC07C43790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6:22.229" v="78800"/>
          <ac:graphicFrameMkLst>
            <pc:docMk/>
            <pc:sldMk cId="2770794833" sldId="261"/>
            <ac:graphicFrameMk id="145" creationId="{501E1AE7-7CE7-4BEF-97C1-0DBAA758829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6:49.391" v="78962"/>
          <ac:graphicFrameMkLst>
            <pc:docMk/>
            <pc:sldMk cId="2770794833" sldId="261"/>
            <ac:graphicFrameMk id="146" creationId="{9796ABC4-D2C2-4706-9434-D4541CB1600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6:51.135" v="79111"/>
          <ac:graphicFrameMkLst>
            <pc:docMk/>
            <pc:sldMk cId="2770794833" sldId="261"/>
            <ac:graphicFrameMk id="147" creationId="{5FE50711-DAD2-4AC7-B87F-B4E9DE814AD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6:53.746" v="79252"/>
          <ac:graphicFrameMkLst>
            <pc:docMk/>
            <pc:sldMk cId="2770794833" sldId="261"/>
            <ac:graphicFrameMk id="148" creationId="{D6BEA820-F6EB-43ED-93AF-B4A20400244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6:55.520" v="79407"/>
          <ac:graphicFrameMkLst>
            <pc:docMk/>
            <pc:sldMk cId="2770794833" sldId="261"/>
            <ac:graphicFrameMk id="149" creationId="{BC1D72FE-89CA-485C-8164-7F204210453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3:16:57.130" v="79551"/>
          <ac:graphicFrameMkLst>
            <pc:docMk/>
            <pc:sldMk cId="2770794833" sldId="261"/>
            <ac:graphicFrameMk id="150" creationId="{05BA0375-6A73-4190-96EC-CF8933BCC9F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3T16:10:34.217" v="82389"/>
          <ac:graphicFrameMkLst>
            <pc:docMk/>
            <pc:sldMk cId="2770794833" sldId="261"/>
            <ac:graphicFrameMk id="151" creationId="{7EA22DB1-D2E7-48BA-92EF-C30E540B0129}"/>
          </ac:graphicFrameMkLst>
        </pc:graphicFrameChg>
        <pc:graphicFrameChg chg="add del">
          <ac:chgData name="Ugo MANTEL" userId="2d5b7065-31bb-4181-a7f8-a73bf0c30211" providerId="ADAL" clId="{287A013E-B4BE-485E-AE94-C2936752CD18}" dt="2020-09-21T17:52:48.150" v="64216"/>
          <ac:graphicFrameMkLst>
            <pc:docMk/>
            <pc:sldMk cId="2770794833" sldId="261"/>
            <ac:graphicFrameMk id="231" creationId="{DBDF09C9-CDE9-4E8D-8B54-4F7A0C490EC3}"/>
          </ac:graphicFrameMkLst>
        </pc:graphicFrameChg>
        <pc:cxnChg chg="add del mod ord">
          <ac:chgData name="Ugo MANTEL" userId="2d5b7065-31bb-4181-a7f8-a73bf0c30211" providerId="ADAL" clId="{287A013E-B4BE-485E-AE94-C2936752CD18}" dt="2020-10-12T11:07:29.500" v="115994"/>
          <ac:cxnSpMkLst>
            <pc:docMk/>
            <pc:sldMk cId="2770794833" sldId="261"/>
            <ac:cxnSpMk id="4" creationId="{0D1B8C5A-8B78-4D57-A8AA-60AC3AF331BE}"/>
          </ac:cxnSpMkLst>
        </pc:cxnChg>
        <pc:cxnChg chg="mod ord">
          <ac:chgData name="Ugo MANTEL" userId="2d5b7065-31bb-4181-a7f8-a73bf0c30211" providerId="ADAL" clId="{287A013E-B4BE-485E-AE94-C2936752CD18}" dt="2020-10-12T11:07:29.638" v="116183"/>
          <ac:cxnSpMkLst>
            <pc:docMk/>
            <pc:sldMk cId="2770794833" sldId="261"/>
            <ac:cxnSpMk id="5" creationId="{6BC59FA9-33D7-4905-962C-3F257303654E}"/>
          </ac:cxnSpMkLst>
        </pc:cxnChg>
        <pc:cxnChg chg="add del mod ord">
          <ac:chgData name="Ugo MANTEL" userId="2d5b7065-31bb-4181-a7f8-a73bf0c30211" providerId="ADAL" clId="{287A013E-B4BE-485E-AE94-C2936752CD18}" dt="2020-09-23T13:12:07.118" v="75596"/>
          <ac:cxnSpMkLst>
            <pc:docMk/>
            <pc:sldMk cId="2770794833" sldId="261"/>
            <ac:cxnSpMk id="6" creationId="{0A0FAB46-1276-45D9-B11C-75163AFF72E9}"/>
          </ac:cxnSpMkLst>
        </pc:cxnChg>
        <pc:cxnChg chg="add del mod ord">
          <ac:chgData name="Ugo MANTEL" userId="2d5b7065-31bb-4181-a7f8-a73bf0c30211" providerId="ADAL" clId="{287A013E-B4BE-485E-AE94-C2936752CD18}" dt="2020-09-23T13:16:49.343" v="78955"/>
          <ac:cxnSpMkLst>
            <pc:docMk/>
            <pc:sldMk cId="2770794833" sldId="261"/>
            <ac:cxnSpMk id="7" creationId="{3F1856C4-9233-4B4F-B450-6D3CB8E1A181}"/>
          </ac:cxnSpMkLst>
        </pc:cxnChg>
        <pc:cxnChg chg="add del mod ord">
          <ac:chgData name="Ugo MANTEL" userId="2d5b7065-31bb-4181-a7f8-a73bf0c30211" providerId="ADAL" clId="{287A013E-B4BE-485E-AE94-C2936752CD18}" dt="2020-09-23T13:16:55.478" v="79402"/>
          <ac:cxnSpMkLst>
            <pc:docMk/>
            <pc:sldMk cId="2770794833" sldId="261"/>
            <ac:cxnSpMk id="8" creationId="{14DEB7BB-3DD4-4C42-85EB-F62E178B8196}"/>
          </ac:cxnSpMkLst>
        </pc:cxnChg>
        <pc:cxnChg chg="mod ord">
          <ac:chgData name="Ugo MANTEL" userId="2d5b7065-31bb-4181-a7f8-a73bf0c30211" providerId="ADAL" clId="{287A013E-B4BE-485E-AE94-C2936752CD18}" dt="2020-10-12T11:07:29.639" v="116185"/>
          <ac:cxnSpMkLst>
            <pc:docMk/>
            <pc:sldMk cId="2770794833" sldId="261"/>
            <ac:cxnSpMk id="13" creationId="{4298AAB4-D8D2-4B0A-8046-CD07D3928028}"/>
          </ac:cxnSpMkLst>
        </pc:cxnChg>
        <pc:cxnChg chg="mod ord">
          <ac:chgData name="Ugo MANTEL" userId="2d5b7065-31bb-4181-a7f8-a73bf0c30211" providerId="ADAL" clId="{287A013E-B4BE-485E-AE94-C2936752CD18}" dt="2020-10-12T11:07:29.641" v="116189"/>
          <ac:cxnSpMkLst>
            <pc:docMk/>
            <pc:sldMk cId="2770794833" sldId="261"/>
            <ac:cxnSpMk id="16" creationId="{FA33EB4E-C1D5-41D3-A3FA-DD281150C253}"/>
          </ac:cxnSpMkLst>
        </pc:cxnChg>
        <pc:cxnChg chg="mod ord">
          <ac:chgData name="Ugo MANTEL" userId="2d5b7065-31bb-4181-a7f8-a73bf0c30211" providerId="ADAL" clId="{287A013E-B4BE-485E-AE94-C2936752CD18}" dt="2020-10-12T11:07:29.617" v="116137"/>
          <ac:cxnSpMkLst>
            <pc:docMk/>
            <pc:sldMk cId="2770794833" sldId="261"/>
            <ac:cxnSpMk id="19" creationId="{717BD74F-C2CE-4695-825B-C98607B7AAEC}"/>
          </ac:cxnSpMkLst>
        </pc:cxnChg>
        <pc:cxnChg chg="mod ord">
          <ac:chgData name="Ugo MANTEL" userId="2d5b7065-31bb-4181-a7f8-a73bf0c30211" providerId="ADAL" clId="{287A013E-B4BE-485E-AE94-C2936752CD18}" dt="2020-10-12T11:07:29.621" v="116145"/>
          <ac:cxnSpMkLst>
            <pc:docMk/>
            <pc:sldMk cId="2770794833" sldId="261"/>
            <ac:cxnSpMk id="20" creationId="{3A46CCEE-C924-409E-8B22-1FDA2BDF16FF}"/>
          </ac:cxnSpMkLst>
        </pc:cxnChg>
        <pc:cxnChg chg="mod ord">
          <ac:chgData name="Ugo MANTEL" userId="2d5b7065-31bb-4181-a7f8-a73bf0c30211" providerId="ADAL" clId="{287A013E-B4BE-485E-AE94-C2936752CD18}" dt="2020-10-12T11:07:29.623" v="116149"/>
          <ac:cxnSpMkLst>
            <pc:docMk/>
            <pc:sldMk cId="2770794833" sldId="261"/>
            <ac:cxnSpMk id="21" creationId="{018ACEB0-AF3E-45B6-868C-167A218ABA13}"/>
          </ac:cxnSpMkLst>
        </pc:cxnChg>
        <pc:cxnChg chg="mod ord">
          <ac:chgData name="Ugo MANTEL" userId="2d5b7065-31bb-4181-a7f8-a73bf0c30211" providerId="ADAL" clId="{287A013E-B4BE-485E-AE94-C2936752CD18}" dt="2020-10-12T11:07:29.624" v="116151"/>
          <ac:cxnSpMkLst>
            <pc:docMk/>
            <pc:sldMk cId="2770794833" sldId="261"/>
            <ac:cxnSpMk id="22" creationId="{4173AED3-29CC-4F4A-B8B0-6B86E5D40959}"/>
          </ac:cxnSpMkLst>
        </pc:cxnChg>
        <pc:cxnChg chg="mod ord">
          <ac:chgData name="Ugo MANTEL" userId="2d5b7065-31bb-4181-a7f8-a73bf0c30211" providerId="ADAL" clId="{287A013E-B4BE-485E-AE94-C2936752CD18}" dt="2020-10-12T11:07:29.625" v="116153"/>
          <ac:cxnSpMkLst>
            <pc:docMk/>
            <pc:sldMk cId="2770794833" sldId="261"/>
            <ac:cxnSpMk id="23" creationId="{C9A5551A-D2F8-4A30-801B-B12FF7F0961E}"/>
          </ac:cxnSpMkLst>
        </pc:cxnChg>
        <pc:cxnChg chg="mod ord">
          <ac:chgData name="Ugo MANTEL" userId="2d5b7065-31bb-4181-a7f8-a73bf0c30211" providerId="ADAL" clId="{287A013E-B4BE-485E-AE94-C2936752CD18}" dt="2020-10-12T11:07:29.617" v="116135"/>
          <ac:cxnSpMkLst>
            <pc:docMk/>
            <pc:sldMk cId="2770794833" sldId="261"/>
            <ac:cxnSpMk id="24" creationId="{DAC76BFC-C0C7-43E6-8C47-5B82BE1FE8C0}"/>
          </ac:cxnSpMkLst>
        </pc:cxnChg>
        <pc:cxnChg chg="mod ord">
          <ac:chgData name="Ugo MANTEL" userId="2d5b7065-31bb-4181-a7f8-a73bf0c30211" providerId="ADAL" clId="{287A013E-B4BE-485E-AE94-C2936752CD18}" dt="2020-10-12T11:07:29.626" v="116155"/>
          <ac:cxnSpMkLst>
            <pc:docMk/>
            <pc:sldMk cId="2770794833" sldId="261"/>
            <ac:cxnSpMk id="25" creationId="{5484EB71-66AA-4CC7-A1CE-CE17BB88EE96}"/>
          </ac:cxnSpMkLst>
        </pc:cxnChg>
        <pc:cxnChg chg="mod ord">
          <ac:chgData name="Ugo MANTEL" userId="2d5b7065-31bb-4181-a7f8-a73bf0c30211" providerId="ADAL" clId="{287A013E-B4BE-485E-AE94-C2936752CD18}" dt="2020-10-12T11:07:29.618" v="116139"/>
          <ac:cxnSpMkLst>
            <pc:docMk/>
            <pc:sldMk cId="2770794833" sldId="261"/>
            <ac:cxnSpMk id="26" creationId="{A93180D1-0329-4BD7-89FB-1D3C7322242E}"/>
          </ac:cxnSpMkLst>
        </pc:cxnChg>
        <pc:cxnChg chg="mod ord">
          <ac:chgData name="Ugo MANTEL" userId="2d5b7065-31bb-4181-a7f8-a73bf0c30211" providerId="ADAL" clId="{287A013E-B4BE-485E-AE94-C2936752CD18}" dt="2020-10-12T11:07:29.637" v="116181"/>
          <ac:cxnSpMkLst>
            <pc:docMk/>
            <pc:sldMk cId="2770794833" sldId="261"/>
            <ac:cxnSpMk id="28" creationId="{A757039C-D34B-4E35-9552-004F0B46FDF3}"/>
          </ac:cxnSpMkLst>
        </pc:cxnChg>
        <pc:cxnChg chg="mod ord">
          <ac:chgData name="Ugo MANTEL" userId="2d5b7065-31bb-4181-a7f8-a73bf0c30211" providerId="ADAL" clId="{287A013E-B4BE-485E-AE94-C2936752CD18}" dt="2020-10-12T11:07:29.642" v="116191"/>
          <ac:cxnSpMkLst>
            <pc:docMk/>
            <pc:sldMk cId="2770794833" sldId="261"/>
            <ac:cxnSpMk id="31" creationId="{1C896D48-51EC-4442-A4E1-DCC1F34BA54C}"/>
          </ac:cxnSpMkLst>
        </pc:cxnChg>
        <pc:cxnChg chg="mod ord">
          <ac:chgData name="Ugo MANTEL" userId="2d5b7065-31bb-4181-a7f8-a73bf0c30211" providerId="ADAL" clId="{287A013E-B4BE-485E-AE94-C2936752CD18}" dt="2020-10-12T11:07:29.627" v="116157"/>
          <ac:cxnSpMkLst>
            <pc:docMk/>
            <pc:sldMk cId="2770794833" sldId="261"/>
            <ac:cxnSpMk id="106" creationId="{DF9242C3-2843-4BC5-B805-4507577E0D5E}"/>
          </ac:cxnSpMkLst>
        </pc:cxnChg>
        <pc:cxnChg chg="mod ord">
          <ac:chgData name="Ugo MANTEL" userId="2d5b7065-31bb-4181-a7f8-a73bf0c30211" providerId="ADAL" clId="{287A013E-B4BE-485E-AE94-C2936752CD18}" dt="2020-10-12T11:07:29.628" v="116159"/>
          <ac:cxnSpMkLst>
            <pc:docMk/>
            <pc:sldMk cId="2770794833" sldId="261"/>
            <ac:cxnSpMk id="107" creationId="{39C484F1-E43F-4E4D-9C97-2CBD104967A0}"/>
          </ac:cxnSpMkLst>
        </pc:cxnChg>
        <pc:cxnChg chg="mod ord">
          <ac:chgData name="Ugo MANTEL" userId="2d5b7065-31bb-4181-a7f8-a73bf0c30211" providerId="ADAL" clId="{287A013E-B4BE-485E-AE94-C2936752CD18}" dt="2020-10-12T11:07:29.628" v="116161"/>
          <ac:cxnSpMkLst>
            <pc:docMk/>
            <pc:sldMk cId="2770794833" sldId="261"/>
            <ac:cxnSpMk id="108" creationId="{1320587B-3478-4926-B292-81F9C801534D}"/>
          </ac:cxnSpMkLst>
        </pc:cxnChg>
        <pc:cxnChg chg="mod ord">
          <ac:chgData name="Ugo MANTEL" userId="2d5b7065-31bb-4181-a7f8-a73bf0c30211" providerId="ADAL" clId="{287A013E-B4BE-485E-AE94-C2936752CD18}" dt="2020-10-12T11:07:29.629" v="116163"/>
          <ac:cxnSpMkLst>
            <pc:docMk/>
            <pc:sldMk cId="2770794833" sldId="261"/>
            <ac:cxnSpMk id="111" creationId="{32B8B41D-A8D0-4201-A6F4-499628D6A7B9}"/>
          </ac:cxnSpMkLst>
        </pc:cxnChg>
        <pc:cxnChg chg="mod ord">
          <ac:chgData name="Ugo MANTEL" userId="2d5b7065-31bb-4181-a7f8-a73bf0c30211" providerId="ADAL" clId="{287A013E-B4BE-485E-AE94-C2936752CD18}" dt="2020-10-12T11:07:29.619" v="116141"/>
          <ac:cxnSpMkLst>
            <pc:docMk/>
            <pc:sldMk cId="2770794833" sldId="261"/>
            <ac:cxnSpMk id="112" creationId="{35E69E33-F7BC-48B5-BFB9-1AA613BFCD88}"/>
          </ac:cxnSpMkLst>
        </pc:cxnChg>
        <pc:cxnChg chg="mod ord">
          <ac:chgData name="Ugo MANTEL" userId="2d5b7065-31bb-4181-a7f8-a73bf0c30211" providerId="ADAL" clId="{287A013E-B4BE-485E-AE94-C2936752CD18}" dt="2020-10-12T11:07:29.630" v="116165"/>
          <ac:cxnSpMkLst>
            <pc:docMk/>
            <pc:sldMk cId="2770794833" sldId="261"/>
            <ac:cxnSpMk id="113" creationId="{26852F15-9342-407C-BD01-CF98C33A24DE}"/>
          </ac:cxnSpMkLst>
        </pc:cxnChg>
        <pc:cxnChg chg="mod ord">
          <ac:chgData name="Ugo MANTEL" userId="2d5b7065-31bb-4181-a7f8-a73bf0c30211" providerId="ADAL" clId="{287A013E-B4BE-485E-AE94-C2936752CD18}" dt="2020-10-12T11:07:29.622" v="116147"/>
          <ac:cxnSpMkLst>
            <pc:docMk/>
            <pc:sldMk cId="2770794833" sldId="261"/>
            <ac:cxnSpMk id="114" creationId="{C2110883-07E5-439F-A3D5-513B38127C60}"/>
          </ac:cxnSpMkLst>
        </pc:cxnChg>
        <pc:cxnChg chg="mod ord">
          <ac:chgData name="Ugo MANTEL" userId="2d5b7065-31bb-4181-a7f8-a73bf0c30211" providerId="ADAL" clId="{287A013E-B4BE-485E-AE94-C2936752CD18}" dt="2020-10-12T11:07:29.620" v="116143"/>
          <ac:cxnSpMkLst>
            <pc:docMk/>
            <pc:sldMk cId="2770794833" sldId="261"/>
            <ac:cxnSpMk id="115" creationId="{E59DCFEA-4E2E-491D-9868-5C933B455EBD}"/>
          </ac:cxnSpMkLst>
        </pc:cxnChg>
        <pc:cxnChg chg="mod ord">
          <ac:chgData name="Ugo MANTEL" userId="2d5b7065-31bb-4181-a7f8-a73bf0c30211" providerId="ADAL" clId="{287A013E-B4BE-485E-AE94-C2936752CD18}" dt="2020-10-12T11:07:29.631" v="116167"/>
          <ac:cxnSpMkLst>
            <pc:docMk/>
            <pc:sldMk cId="2770794833" sldId="261"/>
            <ac:cxnSpMk id="116" creationId="{16DE21E7-E83D-45B3-9B1F-54123640BF36}"/>
          </ac:cxnSpMkLst>
        </pc:cxnChg>
        <pc:cxnChg chg="mod ord">
          <ac:chgData name="Ugo MANTEL" userId="2d5b7065-31bb-4181-a7f8-a73bf0c30211" providerId="ADAL" clId="{287A013E-B4BE-485E-AE94-C2936752CD18}" dt="2020-10-12T11:07:29.632" v="116169"/>
          <ac:cxnSpMkLst>
            <pc:docMk/>
            <pc:sldMk cId="2770794833" sldId="261"/>
            <ac:cxnSpMk id="117" creationId="{2344ACFE-95B4-4CD8-B2B5-8BBBA91C076B}"/>
          </ac:cxnSpMkLst>
        </pc:cxnChg>
        <pc:cxnChg chg="mod ord">
          <ac:chgData name="Ugo MANTEL" userId="2d5b7065-31bb-4181-a7f8-a73bf0c30211" providerId="ADAL" clId="{287A013E-B4BE-485E-AE94-C2936752CD18}" dt="2020-10-12T11:07:29.633" v="116171"/>
          <ac:cxnSpMkLst>
            <pc:docMk/>
            <pc:sldMk cId="2770794833" sldId="261"/>
            <ac:cxnSpMk id="118" creationId="{3A3A4060-0305-4CD6-AE05-5D2CAB5C8575}"/>
          </ac:cxnSpMkLst>
        </pc:cxnChg>
        <pc:cxnChg chg="mod ord">
          <ac:chgData name="Ugo MANTEL" userId="2d5b7065-31bb-4181-a7f8-a73bf0c30211" providerId="ADAL" clId="{287A013E-B4BE-485E-AE94-C2936752CD18}" dt="2020-10-12T11:07:29.634" v="116173"/>
          <ac:cxnSpMkLst>
            <pc:docMk/>
            <pc:sldMk cId="2770794833" sldId="261"/>
            <ac:cxnSpMk id="119" creationId="{0AB89549-9BD4-4134-A654-B783ADA3429A}"/>
          </ac:cxnSpMkLst>
        </pc:cxnChg>
        <pc:cxnChg chg="mod ord">
          <ac:chgData name="Ugo MANTEL" userId="2d5b7065-31bb-4181-a7f8-a73bf0c30211" providerId="ADAL" clId="{287A013E-B4BE-485E-AE94-C2936752CD18}" dt="2020-10-12T11:07:29.635" v="116175"/>
          <ac:cxnSpMkLst>
            <pc:docMk/>
            <pc:sldMk cId="2770794833" sldId="261"/>
            <ac:cxnSpMk id="120" creationId="{E13F32FE-B587-4149-B54B-694CF29F946A}"/>
          </ac:cxnSpMkLst>
        </pc:cxnChg>
        <pc:cxnChg chg="mod ord">
          <ac:chgData name="Ugo MANTEL" userId="2d5b7065-31bb-4181-a7f8-a73bf0c30211" providerId="ADAL" clId="{287A013E-B4BE-485E-AE94-C2936752CD18}" dt="2020-10-12T11:07:29.635" v="116177"/>
          <ac:cxnSpMkLst>
            <pc:docMk/>
            <pc:sldMk cId="2770794833" sldId="261"/>
            <ac:cxnSpMk id="121" creationId="{31376330-621D-40CF-94C1-B1F2B1C49323}"/>
          </ac:cxnSpMkLst>
        </pc:cxnChg>
        <pc:cxnChg chg="mod ord">
          <ac:chgData name="Ugo MANTEL" userId="2d5b7065-31bb-4181-a7f8-a73bf0c30211" providerId="ADAL" clId="{287A013E-B4BE-485E-AE94-C2936752CD18}" dt="2020-10-12T11:07:29.640" v="116187"/>
          <ac:cxnSpMkLst>
            <pc:docMk/>
            <pc:sldMk cId="2770794833" sldId="261"/>
            <ac:cxnSpMk id="132" creationId="{54A49962-207E-4BBB-B1EB-6A78333C351D}"/>
          </ac:cxnSpMkLst>
        </pc:cxnChg>
        <pc:cxnChg chg="del mod ord">
          <ac:chgData name="Ugo MANTEL" userId="2d5b7065-31bb-4181-a7f8-a73bf0c30211" providerId="ADAL" clId="{287A013E-B4BE-485E-AE94-C2936752CD18}" dt="2020-09-21T17:55:31.958" v="67377"/>
          <ac:cxnSpMkLst>
            <pc:docMk/>
            <pc:sldMk cId="2770794833" sldId="261"/>
            <ac:cxnSpMk id="135" creationId="{51FB5474-05FB-42EF-ACAD-7D73EE9E9069}"/>
          </ac:cxnSpMkLst>
        </pc:cxnChg>
      </pc:sldChg>
      <pc:sldChg chg="addSp delSp modSp new add del mod">
        <pc:chgData name="Ugo MANTEL" userId="2d5b7065-31bb-4181-a7f8-a73bf0c30211" providerId="ADAL" clId="{287A013E-B4BE-485E-AE94-C2936752CD18}" dt="2020-09-23T07:35:43.811" v="74052" actId="47"/>
        <pc:sldMkLst>
          <pc:docMk/>
          <pc:sldMk cId="1770172866" sldId="262"/>
        </pc:sldMkLst>
        <pc:spChg chg="mod">
          <ac:chgData name="Ugo MANTEL" userId="2d5b7065-31bb-4181-a7f8-a73bf0c30211" providerId="ADAL" clId="{287A013E-B4BE-485E-AE94-C2936752CD18}" dt="2020-09-23T07:35:28.339" v="74029"/>
          <ac:spMkLst>
            <pc:docMk/>
            <pc:sldMk cId="1770172866" sldId="262"/>
            <ac:spMk id="2" creationId="{D3D10F9C-AAEA-40D9-8DCF-681B77675AFA}"/>
          </ac:spMkLst>
        </pc:spChg>
        <pc:spChg chg="mod ord">
          <ac:chgData name="Ugo MANTEL" userId="2d5b7065-31bb-4181-a7f8-a73bf0c30211" providerId="ADAL" clId="{287A013E-B4BE-485E-AE94-C2936752CD18}" dt="2020-09-23T07:35:28.339" v="74031"/>
          <ac:spMkLst>
            <pc:docMk/>
            <pc:sldMk cId="1770172866" sldId="262"/>
            <ac:spMk id="3" creationId="{795611CA-C996-45B0-A81F-73EDCDD684FD}"/>
          </ac:spMkLst>
        </pc:spChg>
        <pc:spChg chg="add mod ord modVis">
          <ac:chgData name="Ugo MANTEL" userId="2d5b7065-31bb-4181-a7f8-a73bf0c30211" providerId="ADAL" clId="{287A013E-B4BE-485E-AE94-C2936752CD18}" dt="2020-09-23T07:35:28.339" v="74028"/>
          <ac:spMkLst>
            <pc:docMk/>
            <pc:sldMk cId="1770172866" sldId="262"/>
            <ac:spMk id="4" creationId="{AD73FF73-1D02-4497-92F0-22626F93565A}"/>
          </ac:spMkLst>
        </pc:spChg>
        <pc:spChg chg="add mod">
          <ac:chgData name="Ugo MANTEL" userId="2d5b7065-31bb-4181-a7f8-a73bf0c30211" providerId="ADAL" clId="{287A013E-B4BE-485E-AE94-C2936752CD18}" dt="2020-09-23T07:35:28.339" v="74038"/>
          <ac:spMkLst>
            <pc:docMk/>
            <pc:sldMk cId="1770172866" sldId="262"/>
            <ac:spMk id="5" creationId="{83F1F81E-E065-4C94-B07B-4DF2B236370E}"/>
          </ac:spMkLst>
        </pc:spChg>
        <pc:spChg chg="add mod">
          <ac:chgData name="Ugo MANTEL" userId="2d5b7065-31bb-4181-a7f8-a73bf0c30211" providerId="ADAL" clId="{287A013E-B4BE-485E-AE94-C2936752CD18}" dt="2020-09-23T07:35:28.339" v="74039"/>
          <ac:spMkLst>
            <pc:docMk/>
            <pc:sldMk cId="1770172866" sldId="262"/>
            <ac:spMk id="6" creationId="{19AFE658-0B96-43BA-A59D-B13993C105D9}"/>
          </ac:spMkLst>
        </pc:spChg>
        <pc:spChg chg="add mod">
          <ac:chgData name="Ugo MANTEL" userId="2d5b7065-31bb-4181-a7f8-a73bf0c30211" providerId="ADAL" clId="{287A013E-B4BE-485E-AE94-C2936752CD18}" dt="2020-09-23T07:35:28.339" v="74035"/>
          <ac:spMkLst>
            <pc:docMk/>
            <pc:sldMk cId="1770172866" sldId="262"/>
            <ac:spMk id="7" creationId="{D6624CF8-5A64-4804-9D89-B25A74B50676}"/>
          </ac:spMkLst>
        </pc:spChg>
        <pc:spChg chg="add mod">
          <ac:chgData name="Ugo MANTEL" userId="2d5b7065-31bb-4181-a7f8-a73bf0c30211" providerId="ADAL" clId="{287A013E-B4BE-485E-AE94-C2936752CD18}" dt="2020-09-23T07:35:28.339" v="74037"/>
          <ac:spMkLst>
            <pc:docMk/>
            <pc:sldMk cId="1770172866" sldId="262"/>
            <ac:spMk id="8" creationId="{B12B6359-A055-4DE7-AE3A-8325D1BB616F}"/>
          </ac:spMkLst>
        </pc:spChg>
        <pc:spChg chg="add mod">
          <ac:chgData name="Ugo MANTEL" userId="2d5b7065-31bb-4181-a7f8-a73bf0c30211" providerId="ADAL" clId="{287A013E-B4BE-485E-AE94-C2936752CD18}" dt="2020-09-23T07:35:28.347" v="74040"/>
          <ac:spMkLst>
            <pc:docMk/>
            <pc:sldMk cId="1770172866" sldId="262"/>
            <ac:spMk id="9" creationId="{3D3FCD35-F740-463E-A7A6-2EC010A52C68}"/>
          </ac:spMkLst>
        </pc:spChg>
        <pc:spChg chg="add mod">
          <ac:chgData name="Ugo MANTEL" userId="2d5b7065-31bb-4181-a7f8-a73bf0c30211" providerId="ADAL" clId="{287A013E-B4BE-485E-AE94-C2936752CD18}" dt="2020-09-23T07:35:28.347" v="74041"/>
          <ac:spMkLst>
            <pc:docMk/>
            <pc:sldMk cId="1770172866" sldId="262"/>
            <ac:spMk id="10" creationId="{57A61667-4205-4ACA-B1DD-AFC94D65F199}"/>
          </ac:spMkLst>
        </pc:spChg>
        <pc:spChg chg="add mod">
          <ac:chgData name="Ugo MANTEL" userId="2d5b7065-31bb-4181-a7f8-a73bf0c30211" providerId="ADAL" clId="{287A013E-B4BE-485E-AE94-C2936752CD18}" dt="2020-09-23T07:35:28.347" v="74042"/>
          <ac:spMkLst>
            <pc:docMk/>
            <pc:sldMk cId="1770172866" sldId="262"/>
            <ac:spMk id="13" creationId="{23298C27-C6EB-48DE-ADFB-41E2ACDA8A45}"/>
          </ac:spMkLst>
        </pc:spChg>
        <pc:spChg chg="add mod">
          <ac:chgData name="Ugo MANTEL" userId="2d5b7065-31bb-4181-a7f8-a73bf0c30211" providerId="ADAL" clId="{287A013E-B4BE-485E-AE94-C2936752CD18}" dt="2020-09-23T07:35:28.339" v="74036"/>
          <ac:spMkLst>
            <pc:docMk/>
            <pc:sldMk cId="1770172866" sldId="262"/>
            <ac:spMk id="14" creationId="{2CFC1981-DBF8-4262-AFA4-A54A044EB89F}"/>
          </ac:spMkLst>
        </pc:spChg>
        <pc:spChg chg="add mod">
          <ac:chgData name="Ugo MANTEL" userId="2d5b7065-31bb-4181-a7f8-a73bf0c30211" providerId="ADAL" clId="{287A013E-B4BE-485E-AE94-C2936752CD18}" dt="2020-09-23T07:35:28.347" v="74044"/>
          <ac:spMkLst>
            <pc:docMk/>
            <pc:sldMk cId="1770172866" sldId="262"/>
            <ac:spMk id="15" creationId="{5FBBB3C1-0393-4188-A362-EAE441B4EC31}"/>
          </ac:spMkLst>
        </pc:spChg>
        <pc:spChg chg="add mod">
          <ac:chgData name="Ugo MANTEL" userId="2d5b7065-31bb-4181-a7f8-a73bf0c30211" providerId="ADAL" clId="{287A013E-B4BE-485E-AE94-C2936752CD18}" dt="2020-09-23T07:35:28.347" v="74045"/>
          <ac:spMkLst>
            <pc:docMk/>
            <pc:sldMk cId="1770172866" sldId="262"/>
            <ac:spMk id="16" creationId="{02F3214D-AA26-4591-89A1-013B2FFDA831}"/>
          </ac:spMkLst>
        </pc:spChg>
        <pc:spChg chg="add mod">
          <ac:chgData name="Ugo MANTEL" userId="2d5b7065-31bb-4181-a7f8-a73bf0c30211" providerId="ADAL" clId="{287A013E-B4BE-485E-AE94-C2936752CD18}" dt="2020-09-23T07:35:28.349" v="74047"/>
          <ac:spMkLst>
            <pc:docMk/>
            <pc:sldMk cId="1770172866" sldId="262"/>
            <ac:spMk id="17" creationId="{48F990C8-FD27-4CF7-9852-70D447E55802}"/>
          </ac:spMkLst>
        </pc:spChg>
        <pc:spChg chg="add mod">
          <ac:chgData name="Ugo MANTEL" userId="2d5b7065-31bb-4181-a7f8-a73bf0c30211" providerId="ADAL" clId="{287A013E-B4BE-485E-AE94-C2936752CD18}" dt="2020-09-23T07:35:28.347" v="74046"/>
          <ac:spMkLst>
            <pc:docMk/>
            <pc:sldMk cId="1770172866" sldId="262"/>
            <ac:spMk id="18" creationId="{303F465D-03C4-445F-9F88-B95A83E53F3B}"/>
          </ac:spMkLst>
        </pc:spChg>
        <pc:spChg chg="add mod">
          <ac:chgData name="Ugo MANTEL" userId="2d5b7065-31bb-4181-a7f8-a73bf0c30211" providerId="ADAL" clId="{287A013E-B4BE-485E-AE94-C2936752CD18}" dt="2020-09-23T07:35:28.339" v="74034"/>
          <ac:spMkLst>
            <pc:docMk/>
            <pc:sldMk cId="1770172866" sldId="262"/>
            <ac:spMk id="19" creationId="{E77F4E3D-0020-4723-8DCA-4D42DB493667}"/>
          </ac:spMkLst>
        </pc:spChg>
        <pc:spChg chg="add mod">
          <ac:chgData name="Ugo MANTEL" userId="2d5b7065-31bb-4181-a7f8-a73bf0c30211" providerId="ADAL" clId="{287A013E-B4BE-485E-AE94-C2936752CD18}" dt="2020-09-23T07:35:28.347" v="74043"/>
          <ac:spMkLst>
            <pc:docMk/>
            <pc:sldMk cId="1770172866" sldId="262"/>
            <ac:spMk id="20" creationId="{20D560DE-8AAE-4E5B-A465-10022DD28E54}"/>
          </ac:spMkLst>
        </pc:spChg>
        <pc:spChg chg="add mod">
          <ac:chgData name="Ugo MANTEL" userId="2d5b7065-31bb-4181-a7f8-a73bf0c30211" providerId="ADAL" clId="{287A013E-B4BE-485E-AE94-C2936752CD18}" dt="2020-09-23T07:35:28.349" v="74048"/>
          <ac:spMkLst>
            <pc:docMk/>
            <pc:sldMk cId="1770172866" sldId="262"/>
            <ac:spMk id="21" creationId="{715362AB-023C-424B-82EE-65E30CA7F8F8}"/>
          </ac:spMkLst>
        </pc:spChg>
        <pc:spChg chg="add mod">
          <ac:chgData name="Ugo MANTEL" userId="2d5b7065-31bb-4181-a7f8-a73bf0c30211" providerId="ADAL" clId="{287A013E-B4BE-485E-AE94-C2936752CD18}" dt="2020-09-23T07:35:28.349" v="74049"/>
          <ac:spMkLst>
            <pc:docMk/>
            <pc:sldMk cId="1770172866" sldId="262"/>
            <ac:spMk id="22" creationId="{A8E4CBC9-6542-4DC0-B550-14BFE537031C}"/>
          </ac:spMkLst>
        </pc:spChg>
        <pc:graphicFrameChg chg="add del mod ord">
          <ac:chgData name="Ugo MANTEL" userId="2d5b7065-31bb-4181-a7f8-a73bf0c30211" providerId="ADAL" clId="{287A013E-B4BE-485E-AE94-C2936752CD18}" dt="2020-09-23T07:35:28.296" v="74000"/>
          <ac:graphicFrameMkLst>
            <pc:docMk/>
            <pc:sldMk cId="1770172866" sldId="262"/>
            <ac:graphicFrameMk id="11" creationId="{2745DCB2-22FE-405C-A89C-44931ECF997D}"/>
          </ac:graphicFrameMkLst>
        </pc:graphicFrameChg>
        <pc:graphicFrameChg chg="add mod ord modVis">
          <ac:chgData name="Ugo MANTEL" userId="2d5b7065-31bb-4181-a7f8-a73bf0c30211" providerId="ADAL" clId="{287A013E-B4BE-485E-AE94-C2936752CD18}" dt="2020-09-23T07:35:28.349" v="74051"/>
          <ac:graphicFrameMkLst>
            <pc:docMk/>
            <pc:sldMk cId="1770172866" sldId="262"/>
            <ac:graphicFrameMk id="12" creationId="{CED3DD1F-D3F0-42F0-9CB3-9D3FC5935DA9}"/>
          </ac:graphicFrameMkLst>
        </pc:graphicFrameChg>
        <pc:graphicFrameChg chg="add mod ord">
          <ac:chgData name="Ugo MANTEL" userId="2d5b7065-31bb-4181-a7f8-a73bf0c30211" providerId="ADAL" clId="{287A013E-B4BE-485E-AE94-C2936752CD18}" dt="2020-09-23T07:35:28.339" v="74033"/>
          <ac:graphicFrameMkLst>
            <pc:docMk/>
            <pc:sldMk cId="1770172866" sldId="262"/>
            <ac:graphicFrameMk id="23" creationId="{10EA422C-3CAB-4981-8AF7-A47FCE5EB2AA}"/>
          </ac:graphicFrameMkLst>
        </pc:graphicFrameChg>
      </pc:sldChg>
      <pc:sldChg chg="addSp delSp modSp add mod">
        <pc:chgData name="Ugo MANTEL" userId="2d5b7065-31bb-4181-a7f8-a73bf0c30211" providerId="ADAL" clId="{287A013E-B4BE-485E-AE94-C2936752CD18}" dt="2020-09-25T09:58:29.268" v="90322"/>
        <pc:sldMkLst>
          <pc:docMk/>
          <pc:sldMk cId="3272843785" sldId="262"/>
        </pc:sldMkLst>
        <pc:spChg chg="mod">
          <ac:chgData name="Ugo MANTEL" userId="2d5b7065-31bb-4181-a7f8-a73bf0c30211" providerId="ADAL" clId="{287A013E-B4BE-485E-AE94-C2936752CD18}" dt="2020-09-25T09:58:29.238" v="90248"/>
          <ac:spMkLst>
            <pc:docMk/>
            <pc:sldMk cId="3272843785" sldId="262"/>
            <ac:spMk id="2" creationId="{5FB7E987-01B8-492B-B78E-0EA088CC8C8A}"/>
          </ac:spMkLst>
        </pc:spChg>
        <pc:spChg chg="mod ord">
          <ac:chgData name="Ugo MANTEL" userId="2d5b7065-31bb-4181-a7f8-a73bf0c30211" providerId="ADAL" clId="{287A013E-B4BE-485E-AE94-C2936752CD18}" dt="2020-09-25T09:58:29.239" v="90250"/>
          <ac:spMkLst>
            <pc:docMk/>
            <pc:sldMk cId="3272843785" sldId="262"/>
            <ac:spMk id="3" creationId="{B6CB9626-71CD-4BA3-B2F8-3277490C0DFB}"/>
          </ac:spMkLst>
        </pc:spChg>
        <pc:spChg chg="add del mod">
          <ac:chgData name="Ugo MANTEL" userId="2d5b7065-31bb-4181-a7f8-a73bf0c30211" providerId="ADAL" clId="{287A013E-B4BE-485E-AE94-C2936752CD18}" dt="2020-09-25T09:55:58.683" v="84366"/>
          <ac:spMkLst>
            <pc:docMk/>
            <pc:sldMk cId="3272843785" sldId="262"/>
            <ac:spMk id="17" creationId="{6B5F6866-43B2-447A-8CE2-1E811F1CB389}"/>
          </ac:spMkLst>
        </pc:spChg>
        <pc:spChg chg="add del mod">
          <ac:chgData name="Ugo MANTEL" userId="2d5b7065-31bb-4181-a7f8-a73bf0c30211" providerId="ADAL" clId="{287A013E-B4BE-485E-AE94-C2936752CD18}" dt="2020-09-25T09:55:58.693" v="84379"/>
          <ac:spMkLst>
            <pc:docMk/>
            <pc:sldMk cId="3272843785" sldId="262"/>
            <ac:spMk id="18" creationId="{D7AD91AA-025E-4809-90E7-8CFE6694E9B8}"/>
          </ac:spMkLst>
        </pc:spChg>
        <pc:spChg chg="add del mod">
          <ac:chgData name="Ugo MANTEL" userId="2d5b7065-31bb-4181-a7f8-a73bf0c30211" providerId="ADAL" clId="{287A013E-B4BE-485E-AE94-C2936752CD18}" dt="2020-09-25T09:56:19.468" v="84869"/>
          <ac:spMkLst>
            <pc:docMk/>
            <pc:sldMk cId="3272843785" sldId="262"/>
            <ac:spMk id="20" creationId="{E812B6EC-D3A0-4B2B-878D-84FB670B7C75}"/>
          </ac:spMkLst>
        </pc:spChg>
        <pc:spChg chg="add del mod">
          <ac:chgData name="Ugo MANTEL" userId="2d5b7065-31bb-4181-a7f8-a73bf0c30211" providerId="ADAL" clId="{287A013E-B4BE-485E-AE94-C2936752CD18}" dt="2020-09-25T09:55:55.467" v="84094"/>
          <ac:spMkLst>
            <pc:docMk/>
            <pc:sldMk cId="3272843785" sldId="262"/>
            <ac:spMk id="21" creationId="{39627633-125A-449A-9CA6-CE90BA4C36D5}"/>
          </ac:spMkLst>
        </pc:spChg>
        <pc:spChg chg="mod">
          <ac:chgData name="Ugo MANTEL" userId="2d5b7065-31bb-4181-a7f8-a73bf0c30211" providerId="ADAL" clId="{287A013E-B4BE-485E-AE94-C2936752CD18}" dt="2020-09-25T09:58:29.258" v="90303"/>
          <ac:spMkLst>
            <pc:docMk/>
            <pc:sldMk cId="3272843785" sldId="262"/>
            <ac:spMk id="29" creationId="{08514D1F-E741-4343-B2BB-920A0046EF84}"/>
          </ac:spMkLst>
        </pc:spChg>
        <pc:spChg chg="mod">
          <ac:chgData name="Ugo MANTEL" userId="2d5b7065-31bb-4181-a7f8-a73bf0c30211" providerId="ADAL" clId="{287A013E-B4BE-485E-AE94-C2936752CD18}" dt="2020-09-25T09:58:29.263" v="90320"/>
          <ac:spMkLst>
            <pc:docMk/>
            <pc:sldMk cId="3272843785" sldId="262"/>
            <ac:spMk id="30" creationId="{61CB25F0-5394-4BD8-92E6-16389BDD1EA6}"/>
          </ac:spMkLst>
        </pc:spChg>
        <pc:spChg chg="mod">
          <ac:chgData name="Ugo MANTEL" userId="2d5b7065-31bb-4181-a7f8-a73bf0c30211" providerId="ADAL" clId="{287A013E-B4BE-485E-AE94-C2936752CD18}" dt="2020-09-25T09:58:29.261" v="90314"/>
          <ac:spMkLst>
            <pc:docMk/>
            <pc:sldMk cId="3272843785" sldId="262"/>
            <ac:spMk id="31" creationId="{2EFB888C-24EA-4799-91EC-4D24BB2A552B}"/>
          </ac:spMkLst>
        </pc:spChg>
        <pc:spChg chg="mod">
          <ac:chgData name="Ugo MANTEL" userId="2d5b7065-31bb-4181-a7f8-a73bf0c30211" providerId="ADAL" clId="{287A013E-B4BE-485E-AE94-C2936752CD18}" dt="2020-09-25T09:58:29.257" v="90301"/>
          <ac:spMkLst>
            <pc:docMk/>
            <pc:sldMk cId="3272843785" sldId="262"/>
            <ac:spMk id="32" creationId="{4DE26C2D-BCED-4E76-91EF-6BA802819216}"/>
          </ac:spMkLst>
        </pc:spChg>
        <pc:spChg chg="mod">
          <ac:chgData name="Ugo MANTEL" userId="2d5b7065-31bb-4181-a7f8-a73bf0c30211" providerId="ADAL" clId="{287A013E-B4BE-485E-AE94-C2936752CD18}" dt="2020-09-25T09:58:29.260" v="90309"/>
          <ac:spMkLst>
            <pc:docMk/>
            <pc:sldMk cId="3272843785" sldId="262"/>
            <ac:spMk id="33" creationId="{FB71B4E2-CD7D-4ED9-B59C-1DAEEF4D752B}"/>
          </ac:spMkLst>
        </pc:spChg>
        <pc:spChg chg="mod">
          <ac:chgData name="Ugo MANTEL" userId="2d5b7065-31bb-4181-a7f8-a73bf0c30211" providerId="ADAL" clId="{287A013E-B4BE-485E-AE94-C2936752CD18}" dt="2020-09-25T09:58:29.262" v="90316"/>
          <ac:spMkLst>
            <pc:docMk/>
            <pc:sldMk cId="3272843785" sldId="262"/>
            <ac:spMk id="34" creationId="{FED6F1E6-6643-4D4B-9413-16622D2E3CE2}"/>
          </ac:spMkLst>
        </pc:spChg>
        <pc:spChg chg="mod">
          <ac:chgData name="Ugo MANTEL" userId="2d5b7065-31bb-4181-a7f8-a73bf0c30211" providerId="ADAL" clId="{287A013E-B4BE-485E-AE94-C2936752CD18}" dt="2020-09-25T09:58:29.260" v="90311"/>
          <ac:spMkLst>
            <pc:docMk/>
            <pc:sldMk cId="3272843785" sldId="262"/>
            <ac:spMk id="35" creationId="{00714E26-EC36-4A85-960D-3EDA17D5A276}"/>
          </ac:spMkLst>
        </pc:spChg>
        <pc:spChg chg="mod">
          <ac:chgData name="Ugo MANTEL" userId="2d5b7065-31bb-4181-a7f8-a73bf0c30211" providerId="ADAL" clId="{287A013E-B4BE-485E-AE94-C2936752CD18}" dt="2020-09-25T09:58:29.257" v="90299"/>
          <ac:spMkLst>
            <pc:docMk/>
            <pc:sldMk cId="3272843785" sldId="262"/>
            <ac:spMk id="36" creationId="{33094E6A-D62C-4FB5-AA4B-9A8F898CA1E7}"/>
          </ac:spMkLst>
        </pc:spChg>
        <pc:spChg chg="mod">
          <ac:chgData name="Ugo MANTEL" userId="2d5b7065-31bb-4181-a7f8-a73bf0c30211" providerId="ADAL" clId="{287A013E-B4BE-485E-AE94-C2936752CD18}" dt="2020-09-25T09:58:29.261" v="90313"/>
          <ac:spMkLst>
            <pc:docMk/>
            <pc:sldMk cId="3272843785" sldId="262"/>
            <ac:spMk id="37" creationId="{2120A82C-648E-40A2-A75A-D6C8537E9C96}"/>
          </ac:spMkLst>
        </pc:spChg>
        <pc:spChg chg="mod">
          <ac:chgData name="Ugo MANTEL" userId="2d5b7065-31bb-4181-a7f8-a73bf0c30211" providerId="ADAL" clId="{287A013E-B4BE-485E-AE94-C2936752CD18}" dt="2020-09-25T09:58:29.256" v="90295"/>
          <ac:spMkLst>
            <pc:docMk/>
            <pc:sldMk cId="3272843785" sldId="262"/>
            <ac:spMk id="38" creationId="{97449C5F-EFB9-4A77-BB80-08ACD8569C4D}"/>
          </ac:spMkLst>
        </pc:spChg>
        <pc:spChg chg="mod">
          <ac:chgData name="Ugo MANTEL" userId="2d5b7065-31bb-4181-a7f8-a73bf0c30211" providerId="ADAL" clId="{287A013E-B4BE-485E-AE94-C2936752CD18}" dt="2020-09-25T09:58:29.261" v="90312"/>
          <ac:spMkLst>
            <pc:docMk/>
            <pc:sldMk cId="3272843785" sldId="262"/>
            <ac:spMk id="39" creationId="{85D2B09C-7410-4FEA-B6D7-C4A5A091ADA8}"/>
          </ac:spMkLst>
        </pc:spChg>
        <pc:spChg chg="mod">
          <ac:chgData name="Ugo MANTEL" userId="2d5b7065-31bb-4181-a7f8-a73bf0c30211" providerId="ADAL" clId="{287A013E-B4BE-485E-AE94-C2936752CD18}" dt="2020-09-25T09:58:29.259" v="90307"/>
          <ac:spMkLst>
            <pc:docMk/>
            <pc:sldMk cId="3272843785" sldId="262"/>
            <ac:spMk id="40" creationId="{39A82838-48B4-4A6D-BE00-031201B45A51}"/>
          </ac:spMkLst>
        </pc:spChg>
        <pc:spChg chg="mod">
          <ac:chgData name="Ugo MANTEL" userId="2d5b7065-31bb-4181-a7f8-a73bf0c30211" providerId="ADAL" clId="{287A013E-B4BE-485E-AE94-C2936752CD18}" dt="2020-09-25T09:58:29.258" v="90302"/>
          <ac:spMkLst>
            <pc:docMk/>
            <pc:sldMk cId="3272843785" sldId="262"/>
            <ac:spMk id="41" creationId="{C152E67D-402B-4387-8DB5-DF4CAE9F853F}"/>
          </ac:spMkLst>
        </pc:spChg>
        <pc:spChg chg="mod ord">
          <ac:chgData name="Ugo MANTEL" userId="2d5b7065-31bb-4181-a7f8-a73bf0c30211" providerId="ADAL" clId="{287A013E-B4BE-485E-AE94-C2936752CD18}" dt="2020-09-25T09:58:29.237" v="90247"/>
          <ac:spMkLst>
            <pc:docMk/>
            <pc:sldMk cId="3272843785" sldId="262"/>
            <ac:spMk id="42" creationId="{1CDC1D26-5559-48E5-A3EA-95A60632EA3F}"/>
          </ac:spMkLst>
        </pc:spChg>
        <pc:spChg chg="add del mod">
          <ac:chgData name="Ugo MANTEL" userId="2d5b7065-31bb-4181-a7f8-a73bf0c30211" providerId="ADAL" clId="{287A013E-B4BE-485E-AE94-C2936752CD18}" dt="2020-09-25T09:56:24.660" v="85750"/>
          <ac:spMkLst>
            <pc:docMk/>
            <pc:sldMk cId="3272843785" sldId="262"/>
            <ac:spMk id="52" creationId="{785EF2D3-16F2-4AF7-B6CF-699D03F2BC35}"/>
          </ac:spMkLst>
        </pc:spChg>
        <pc:spChg chg="add del mod">
          <ac:chgData name="Ugo MANTEL" userId="2d5b7065-31bb-4181-a7f8-a73bf0c30211" providerId="ADAL" clId="{287A013E-B4BE-485E-AE94-C2936752CD18}" dt="2020-09-25T09:56:27.879" v="85999"/>
          <ac:spMkLst>
            <pc:docMk/>
            <pc:sldMk cId="3272843785" sldId="262"/>
            <ac:spMk id="54" creationId="{D5A2CD43-B0D4-486A-8A3A-84C1C88A6E7F}"/>
          </ac:spMkLst>
        </pc:spChg>
        <pc:spChg chg="add del mod">
          <ac:chgData name="Ugo MANTEL" userId="2d5b7065-31bb-4181-a7f8-a73bf0c30211" providerId="ADAL" clId="{287A013E-B4BE-485E-AE94-C2936752CD18}" dt="2020-09-25T09:56:27.882" v="86002"/>
          <ac:spMkLst>
            <pc:docMk/>
            <pc:sldMk cId="3272843785" sldId="262"/>
            <ac:spMk id="57" creationId="{8501348B-2061-47A7-9CF6-9E49F57C544A}"/>
          </ac:spMkLst>
        </pc:spChg>
        <pc:spChg chg="add del mod">
          <ac:chgData name="Ugo MANTEL" userId="2d5b7065-31bb-4181-a7f8-a73bf0c30211" providerId="ADAL" clId="{287A013E-B4BE-485E-AE94-C2936752CD18}" dt="2020-09-25T09:56:27.885" v="86005"/>
          <ac:spMkLst>
            <pc:docMk/>
            <pc:sldMk cId="3272843785" sldId="262"/>
            <ac:spMk id="58" creationId="{C67E5E17-438D-4879-A39E-CF4B783F4CCF}"/>
          </ac:spMkLst>
        </pc:spChg>
        <pc:spChg chg="add del mod">
          <ac:chgData name="Ugo MANTEL" userId="2d5b7065-31bb-4181-a7f8-a73bf0c30211" providerId="ADAL" clId="{287A013E-B4BE-485E-AE94-C2936752CD18}" dt="2020-09-25T09:56:27.889" v="86008"/>
          <ac:spMkLst>
            <pc:docMk/>
            <pc:sldMk cId="3272843785" sldId="262"/>
            <ac:spMk id="59" creationId="{57E954C4-B6B8-49CA-B25C-D7CB608E7038}"/>
          </ac:spMkLst>
        </pc:spChg>
        <pc:spChg chg="add del mod">
          <ac:chgData name="Ugo MANTEL" userId="2d5b7065-31bb-4181-a7f8-a73bf0c30211" providerId="ADAL" clId="{287A013E-B4BE-485E-AE94-C2936752CD18}" dt="2020-09-25T09:55:53.051" v="83701"/>
          <ac:spMkLst>
            <pc:docMk/>
            <pc:sldMk cId="3272843785" sldId="262"/>
            <ac:spMk id="60" creationId="{645B737D-DA2C-475C-B3B2-5162B94BC89F}"/>
          </ac:spMkLst>
        </pc:spChg>
        <pc:spChg chg="add del mod">
          <ac:chgData name="Ugo MANTEL" userId="2d5b7065-31bb-4181-a7f8-a73bf0c30211" providerId="ADAL" clId="{287A013E-B4BE-485E-AE94-C2936752CD18}" dt="2020-09-25T09:55:55.403" v="84021"/>
          <ac:spMkLst>
            <pc:docMk/>
            <pc:sldMk cId="3272843785" sldId="262"/>
            <ac:spMk id="61" creationId="{AC5D7A6D-D6BE-4161-98E0-0C8168580ED7}"/>
          </ac:spMkLst>
        </pc:spChg>
        <pc:spChg chg="add del mod">
          <ac:chgData name="Ugo MANTEL" userId="2d5b7065-31bb-4181-a7f8-a73bf0c30211" providerId="ADAL" clId="{287A013E-B4BE-485E-AE94-C2936752CD18}" dt="2020-09-25T09:55:58.622" v="84333"/>
          <ac:spMkLst>
            <pc:docMk/>
            <pc:sldMk cId="3272843785" sldId="262"/>
            <ac:spMk id="62" creationId="{74F700D7-4A0F-43A6-949F-C276C970258C}"/>
          </ac:spMkLst>
        </pc:spChg>
        <pc:spChg chg="add del mod">
          <ac:chgData name="Ugo MANTEL" userId="2d5b7065-31bb-4181-a7f8-a73bf0c30211" providerId="ADAL" clId="{287A013E-B4BE-485E-AE94-C2936752CD18}" dt="2020-09-25T09:56:27.871" v="85985"/>
          <ac:spMkLst>
            <pc:docMk/>
            <pc:sldMk cId="3272843785" sldId="262"/>
            <ac:spMk id="63" creationId="{4B42B4BE-6E5F-4C8F-9585-C4868A3A5752}"/>
          </ac:spMkLst>
        </pc:spChg>
        <pc:spChg chg="add del mod">
          <ac:chgData name="Ugo MANTEL" userId="2d5b7065-31bb-4181-a7f8-a73bf0c30211" providerId="ADAL" clId="{287A013E-B4BE-485E-AE94-C2936752CD18}" dt="2020-09-25T09:56:27.873" v="85988"/>
          <ac:spMkLst>
            <pc:docMk/>
            <pc:sldMk cId="3272843785" sldId="262"/>
            <ac:spMk id="64" creationId="{224E42F6-347C-4BE5-B437-E3D3A40D3DCF}"/>
          </ac:spMkLst>
        </pc:spChg>
        <pc:spChg chg="add del mod">
          <ac:chgData name="Ugo MANTEL" userId="2d5b7065-31bb-4181-a7f8-a73bf0c30211" providerId="ADAL" clId="{287A013E-B4BE-485E-AE94-C2936752CD18}" dt="2020-09-25T09:56:27.875" v="85991"/>
          <ac:spMkLst>
            <pc:docMk/>
            <pc:sldMk cId="3272843785" sldId="262"/>
            <ac:spMk id="66" creationId="{7B2153DB-93B4-4789-A788-813EE9D73590}"/>
          </ac:spMkLst>
        </pc:spChg>
        <pc:spChg chg="add del mod">
          <ac:chgData name="Ugo MANTEL" userId="2d5b7065-31bb-4181-a7f8-a73bf0c30211" providerId="ADAL" clId="{287A013E-B4BE-485E-AE94-C2936752CD18}" dt="2020-09-25T09:56:27.877" v="85994"/>
          <ac:spMkLst>
            <pc:docMk/>
            <pc:sldMk cId="3272843785" sldId="262"/>
            <ac:spMk id="67" creationId="{079DE438-96CE-416A-A96C-3E1F2C15F7F5}"/>
          </ac:spMkLst>
        </pc:spChg>
        <pc:spChg chg="add del mod">
          <ac:chgData name="Ugo MANTEL" userId="2d5b7065-31bb-4181-a7f8-a73bf0c30211" providerId="ADAL" clId="{287A013E-B4BE-485E-AE94-C2936752CD18}" dt="2020-09-25T09:58:05.676" v="87690"/>
          <ac:spMkLst>
            <pc:docMk/>
            <pc:sldMk cId="3272843785" sldId="262"/>
            <ac:spMk id="71" creationId="{885DFE8C-443A-4DC1-AD2A-2110194B493D}"/>
          </ac:spMkLst>
        </pc:spChg>
        <pc:spChg chg="add del mod">
          <ac:chgData name="Ugo MANTEL" userId="2d5b7065-31bb-4181-a7f8-a73bf0c30211" providerId="ADAL" clId="{287A013E-B4BE-485E-AE94-C2936752CD18}" dt="2020-09-25T09:58:13.401" v="88488"/>
          <ac:spMkLst>
            <pc:docMk/>
            <pc:sldMk cId="3272843785" sldId="262"/>
            <ac:spMk id="78" creationId="{B5C28311-9B97-4F64-86D3-95AAB5A6BA0B}"/>
          </ac:spMkLst>
        </pc:spChg>
        <pc:spChg chg="add del mod">
          <ac:chgData name="Ugo MANTEL" userId="2d5b7065-31bb-4181-a7f8-a73bf0c30211" providerId="ADAL" clId="{287A013E-B4BE-485E-AE94-C2936752CD18}" dt="2020-09-25T09:56:19.156" v="84705"/>
          <ac:spMkLst>
            <pc:docMk/>
            <pc:sldMk cId="3272843785" sldId="262"/>
            <ac:spMk id="81" creationId="{06C98763-BCBE-4D44-A5D5-0443168649AA}"/>
          </ac:spMkLst>
        </pc:spChg>
        <pc:spChg chg="add del mod">
          <ac:chgData name="Ugo MANTEL" userId="2d5b7065-31bb-4181-a7f8-a73bf0c30211" providerId="ADAL" clId="{287A013E-B4BE-485E-AE94-C2936752CD18}" dt="2020-09-25T09:56:19.187" v="84725"/>
          <ac:spMkLst>
            <pc:docMk/>
            <pc:sldMk cId="3272843785" sldId="262"/>
            <ac:spMk id="83" creationId="{D9F8DA6A-CF3D-453B-89AF-D87AE18D4743}"/>
          </ac:spMkLst>
        </pc:spChg>
        <pc:spChg chg="add del mod">
          <ac:chgData name="Ugo MANTEL" userId="2d5b7065-31bb-4181-a7f8-a73bf0c30211" providerId="ADAL" clId="{287A013E-B4BE-485E-AE94-C2936752CD18}" dt="2020-09-25T09:56:19.226" v="84745"/>
          <ac:spMkLst>
            <pc:docMk/>
            <pc:sldMk cId="3272843785" sldId="262"/>
            <ac:spMk id="85" creationId="{B9E0E84C-4649-4694-A7AD-6E6CB91BA1AC}"/>
          </ac:spMkLst>
        </pc:spChg>
        <pc:spChg chg="add del mod">
          <ac:chgData name="Ugo MANTEL" userId="2d5b7065-31bb-4181-a7f8-a73bf0c30211" providerId="ADAL" clId="{287A013E-B4BE-485E-AE94-C2936752CD18}" dt="2020-09-25T09:56:22.511" v="85121"/>
          <ac:spMkLst>
            <pc:docMk/>
            <pc:sldMk cId="3272843785" sldId="262"/>
            <ac:spMk id="87" creationId="{6A7D3A66-6468-4562-A38C-B41814C42553}"/>
          </ac:spMkLst>
        </pc:spChg>
        <pc:spChg chg="add del mod">
          <ac:chgData name="Ugo MANTEL" userId="2d5b7065-31bb-4181-a7f8-a73bf0c30211" providerId="ADAL" clId="{287A013E-B4BE-485E-AE94-C2936752CD18}" dt="2020-09-25T09:56:23.611" v="85422"/>
          <ac:spMkLst>
            <pc:docMk/>
            <pc:sldMk cId="3272843785" sldId="262"/>
            <ac:spMk id="88" creationId="{A1B05028-F592-41F8-B9BE-30AE44EAECDA}"/>
          </ac:spMkLst>
        </pc:spChg>
        <pc:spChg chg="add del mod">
          <ac:chgData name="Ugo MANTEL" userId="2d5b7065-31bb-4181-a7f8-a73bf0c30211" providerId="ADAL" clId="{287A013E-B4BE-485E-AE94-C2936752CD18}" dt="2020-09-25T09:56:24.627" v="85717"/>
          <ac:spMkLst>
            <pc:docMk/>
            <pc:sldMk cId="3272843785" sldId="262"/>
            <ac:spMk id="89" creationId="{1B0B007F-0975-4348-96C7-D45011A419BD}"/>
          </ac:spMkLst>
        </pc:spChg>
        <pc:spChg chg="add del mod">
          <ac:chgData name="Ugo MANTEL" userId="2d5b7065-31bb-4181-a7f8-a73bf0c30211" providerId="ADAL" clId="{287A013E-B4BE-485E-AE94-C2936752CD18}" dt="2020-09-25T09:57:41.445" v="86832"/>
          <ac:spMkLst>
            <pc:docMk/>
            <pc:sldMk cId="3272843785" sldId="262"/>
            <ac:spMk id="95" creationId="{5B4FF3DD-F7B5-4C73-9619-CBDFCFE7F121}"/>
          </ac:spMkLst>
        </pc:spChg>
        <pc:spChg chg="add del mod">
          <ac:chgData name="Ugo MANTEL" userId="2d5b7065-31bb-4181-a7f8-a73bf0c30211" providerId="ADAL" clId="{287A013E-B4BE-485E-AE94-C2936752CD18}" dt="2020-09-25T09:57:41.461" v="86852"/>
          <ac:spMkLst>
            <pc:docMk/>
            <pc:sldMk cId="3272843785" sldId="262"/>
            <ac:spMk id="97" creationId="{6EFBA2CC-4DCD-47F8-A03B-6F82C874ED01}"/>
          </ac:spMkLst>
        </pc:spChg>
        <pc:spChg chg="add del mod">
          <ac:chgData name="Ugo MANTEL" userId="2d5b7065-31bb-4181-a7f8-a73bf0c30211" providerId="ADAL" clId="{287A013E-B4BE-485E-AE94-C2936752CD18}" dt="2020-09-25T09:57:41.481" v="86872"/>
          <ac:spMkLst>
            <pc:docMk/>
            <pc:sldMk cId="3272843785" sldId="262"/>
            <ac:spMk id="99" creationId="{C57675A4-34AB-4471-801D-769B204E441F}"/>
          </ac:spMkLst>
        </pc:spChg>
        <pc:spChg chg="add del mod">
          <ac:chgData name="Ugo MANTEL" userId="2d5b7065-31bb-4181-a7f8-a73bf0c30211" providerId="ADAL" clId="{287A013E-B4BE-485E-AE94-C2936752CD18}" dt="2020-09-25T09:58:17.326" v="88699"/>
          <ac:spMkLst>
            <pc:docMk/>
            <pc:sldMk cId="3272843785" sldId="262"/>
            <ac:spMk id="103" creationId="{8357473C-DE41-4F77-BFA5-9FF0DC19FA45}"/>
          </ac:spMkLst>
        </pc:spChg>
        <pc:spChg chg="add del mod">
          <ac:chgData name="Ugo MANTEL" userId="2d5b7065-31bb-4181-a7f8-a73bf0c30211" providerId="ADAL" clId="{287A013E-B4BE-485E-AE94-C2936752CD18}" dt="2020-09-25T09:58:17.327" v="88702"/>
          <ac:spMkLst>
            <pc:docMk/>
            <pc:sldMk cId="3272843785" sldId="262"/>
            <ac:spMk id="104" creationId="{9F52F551-A87B-4FA2-A34B-22A85832D4A1}"/>
          </ac:spMkLst>
        </pc:spChg>
        <pc:spChg chg="add del mod">
          <ac:chgData name="Ugo MANTEL" userId="2d5b7065-31bb-4181-a7f8-a73bf0c30211" providerId="ADAL" clId="{287A013E-B4BE-485E-AE94-C2936752CD18}" dt="2020-09-25T09:58:09.909" v="87923"/>
          <ac:spMkLst>
            <pc:docMk/>
            <pc:sldMk cId="3272843785" sldId="262"/>
            <ac:spMk id="105" creationId="{E852B98D-0EEC-4D60-8534-0FE38C2CEF20}"/>
          </ac:spMkLst>
        </pc:spChg>
        <pc:spChg chg="add del mod">
          <ac:chgData name="Ugo MANTEL" userId="2d5b7065-31bb-4181-a7f8-a73bf0c30211" providerId="ADAL" clId="{287A013E-B4BE-485E-AE94-C2936752CD18}" dt="2020-09-25T09:58:11.220" v="88192"/>
          <ac:spMkLst>
            <pc:docMk/>
            <pc:sldMk cId="3272843785" sldId="262"/>
            <ac:spMk id="106" creationId="{AF6CCF22-7423-4DB2-914C-C930CE25B878}"/>
          </ac:spMkLst>
        </pc:spChg>
        <pc:spChg chg="add del mod">
          <ac:chgData name="Ugo MANTEL" userId="2d5b7065-31bb-4181-a7f8-a73bf0c30211" providerId="ADAL" clId="{287A013E-B4BE-485E-AE94-C2936752CD18}" dt="2020-09-25T09:58:13.374" v="88455"/>
          <ac:spMkLst>
            <pc:docMk/>
            <pc:sldMk cId="3272843785" sldId="262"/>
            <ac:spMk id="107" creationId="{128A961E-0E95-4AD9-AACC-8F128AF6EA50}"/>
          </ac:spMkLst>
        </pc:spChg>
        <pc:spChg chg="add del mod">
          <ac:chgData name="Ugo MANTEL" userId="2d5b7065-31bb-4181-a7f8-a73bf0c30211" providerId="ADAL" clId="{287A013E-B4BE-485E-AE94-C2936752CD18}" dt="2020-09-25T09:58:17.319" v="88691"/>
          <ac:spMkLst>
            <pc:docMk/>
            <pc:sldMk cId="3272843785" sldId="262"/>
            <ac:spMk id="108" creationId="{27AE2456-6D69-4B3A-AB23-3286F8FA986F}"/>
          </ac:spMkLst>
        </pc:spChg>
        <pc:spChg chg="add del mod">
          <ac:chgData name="Ugo MANTEL" userId="2d5b7065-31bb-4181-a7f8-a73bf0c30211" providerId="ADAL" clId="{287A013E-B4BE-485E-AE94-C2936752CD18}" dt="2020-09-25T09:58:17.322" v="88694"/>
          <ac:spMkLst>
            <pc:docMk/>
            <pc:sldMk cId="3272843785" sldId="262"/>
            <ac:spMk id="109" creationId="{31A49DF5-DDEB-4193-AE96-9F9E1EA87113}"/>
          </ac:spMkLst>
        </pc:spChg>
        <pc:spChg chg="add mod">
          <ac:chgData name="Ugo MANTEL" userId="2d5b7065-31bb-4181-a7f8-a73bf0c30211" providerId="ADAL" clId="{287A013E-B4BE-485E-AE94-C2936752CD18}" dt="2020-09-25T09:58:29.262" v="90317"/>
          <ac:spMkLst>
            <pc:docMk/>
            <pc:sldMk cId="3272843785" sldId="262"/>
            <ac:spMk id="122" creationId="{992482D8-4D57-4136-A45A-890CC97F13E6}"/>
          </ac:spMkLst>
        </pc:spChg>
        <pc:spChg chg="add mod">
          <ac:chgData name="Ugo MANTEL" userId="2d5b7065-31bb-4181-a7f8-a73bf0c30211" providerId="ADAL" clId="{287A013E-B4BE-485E-AE94-C2936752CD18}" dt="2020-09-25T09:58:29.262" v="90318"/>
          <ac:spMkLst>
            <pc:docMk/>
            <pc:sldMk cId="3272843785" sldId="262"/>
            <ac:spMk id="124" creationId="{364E3454-ABCD-4FAF-9EAE-97AA00445D30}"/>
          </ac:spMkLst>
        </pc:spChg>
        <pc:spChg chg="add mod">
          <ac:chgData name="Ugo MANTEL" userId="2d5b7065-31bb-4181-a7f8-a73bf0c30211" providerId="ADAL" clId="{287A013E-B4BE-485E-AE94-C2936752CD18}" dt="2020-09-25T09:58:29.263" v="90319"/>
          <ac:spMkLst>
            <pc:docMk/>
            <pc:sldMk cId="3272843785" sldId="262"/>
            <ac:spMk id="126" creationId="{D5241E18-DA0D-4A47-9B84-E8F90D8AE33A}"/>
          </ac:spMkLst>
        </pc:spChg>
        <pc:spChg chg="mod">
          <ac:chgData name="Ugo MANTEL" userId="2d5b7065-31bb-4181-a7f8-a73bf0c30211" providerId="ADAL" clId="{287A013E-B4BE-485E-AE94-C2936752CD18}" dt="2020-09-25T09:58:29.257" v="90300"/>
          <ac:spMkLst>
            <pc:docMk/>
            <pc:sldMk cId="3272843785" sldId="262"/>
            <ac:spMk id="165" creationId="{5C34D846-5CB4-44D6-A90D-D126F6A15053}"/>
          </ac:spMkLst>
        </pc:spChg>
        <pc:spChg chg="mod">
          <ac:chgData name="Ugo MANTEL" userId="2d5b7065-31bb-4181-a7f8-a73bf0c30211" providerId="ADAL" clId="{287A013E-B4BE-485E-AE94-C2936752CD18}" dt="2020-09-25T09:58:29.256" v="90297"/>
          <ac:spMkLst>
            <pc:docMk/>
            <pc:sldMk cId="3272843785" sldId="262"/>
            <ac:spMk id="167" creationId="{3FD5BDCC-A5B7-4998-8DC7-4D6909231A15}"/>
          </ac:spMkLst>
        </pc:spChg>
        <pc:spChg chg="mod">
          <ac:chgData name="Ugo MANTEL" userId="2d5b7065-31bb-4181-a7f8-a73bf0c30211" providerId="ADAL" clId="{287A013E-B4BE-485E-AE94-C2936752CD18}" dt="2020-09-25T09:58:29.256" v="90298"/>
          <ac:spMkLst>
            <pc:docMk/>
            <pc:sldMk cId="3272843785" sldId="262"/>
            <ac:spMk id="168" creationId="{CED88030-701E-499A-A464-3C34C5228A3F}"/>
          </ac:spMkLst>
        </pc:spChg>
        <pc:spChg chg="mod">
          <ac:chgData name="Ugo MANTEL" userId="2d5b7065-31bb-4181-a7f8-a73bf0c30211" providerId="ADAL" clId="{287A013E-B4BE-485E-AE94-C2936752CD18}" dt="2020-09-25T09:58:29.261" v="90315"/>
          <ac:spMkLst>
            <pc:docMk/>
            <pc:sldMk cId="3272843785" sldId="262"/>
            <ac:spMk id="169" creationId="{2B45617E-18DB-4E4A-81BE-72286154FCC1}"/>
          </ac:spMkLst>
        </pc:spChg>
        <pc:spChg chg="del mod">
          <ac:chgData name="Ugo MANTEL" userId="2d5b7065-31bb-4181-a7f8-a73bf0c30211" providerId="ADAL" clId="{287A013E-B4BE-485E-AE94-C2936752CD18}" dt="2020-09-25T09:55:50.119" v="82900"/>
          <ac:spMkLst>
            <pc:docMk/>
            <pc:sldMk cId="3272843785" sldId="262"/>
            <ac:spMk id="170" creationId="{BDD2781E-3E86-4A91-8146-84E12F59FA0C}"/>
          </ac:spMkLst>
        </pc:spChg>
        <pc:spChg chg="mod">
          <ac:chgData name="Ugo MANTEL" userId="2d5b7065-31bb-4181-a7f8-a73bf0c30211" providerId="ADAL" clId="{287A013E-B4BE-485E-AE94-C2936752CD18}" dt="2020-09-25T09:58:29.260" v="90310"/>
          <ac:spMkLst>
            <pc:docMk/>
            <pc:sldMk cId="3272843785" sldId="262"/>
            <ac:spMk id="171" creationId="{B8734C2E-BE04-4B3A-BAA9-6C1D8581526B}"/>
          </ac:spMkLst>
        </pc:spChg>
        <pc:spChg chg="mod">
          <ac:chgData name="Ugo MANTEL" userId="2d5b7065-31bb-4181-a7f8-a73bf0c30211" providerId="ADAL" clId="{287A013E-B4BE-485E-AE94-C2936752CD18}" dt="2020-09-25T09:58:29.259" v="90308"/>
          <ac:spMkLst>
            <pc:docMk/>
            <pc:sldMk cId="3272843785" sldId="262"/>
            <ac:spMk id="172" creationId="{6A5EF5DD-3BAC-4E5E-B000-376F8E699F71}"/>
          </ac:spMkLst>
        </pc:spChg>
        <pc:spChg chg="mod">
          <ac:chgData name="Ugo MANTEL" userId="2d5b7065-31bb-4181-a7f8-a73bf0c30211" providerId="ADAL" clId="{287A013E-B4BE-485E-AE94-C2936752CD18}" dt="2020-09-25T09:58:29.258" v="90305"/>
          <ac:spMkLst>
            <pc:docMk/>
            <pc:sldMk cId="3272843785" sldId="262"/>
            <ac:spMk id="173" creationId="{84E3CE5E-D6F1-44D8-A0DB-1B49B448B06F}"/>
          </ac:spMkLst>
        </pc:spChg>
        <pc:spChg chg="del mod">
          <ac:chgData name="Ugo MANTEL" userId="2d5b7065-31bb-4181-a7f8-a73bf0c30211" providerId="ADAL" clId="{287A013E-B4BE-485E-AE94-C2936752CD18}" dt="2020-09-25T09:55:50.144" v="82920"/>
          <ac:spMkLst>
            <pc:docMk/>
            <pc:sldMk cId="3272843785" sldId="262"/>
            <ac:spMk id="174" creationId="{82CB1396-B268-4F71-B6B9-A0F841FCD34D}"/>
          </ac:spMkLst>
        </pc:spChg>
        <pc:spChg chg="mod">
          <ac:chgData name="Ugo MANTEL" userId="2d5b7065-31bb-4181-a7f8-a73bf0c30211" providerId="ADAL" clId="{287A013E-B4BE-485E-AE94-C2936752CD18}" dt="2020-09-25T09:58:29.256" v="90296"/>
          <ac:spMkLst>
            <pc:docMk/>
            <pc:sldMk cId="3272843785" sldId="262"/>
            <ac:spMk id="175" creationId="{4160291E-B783-4FDD-A513-8686062EE52E}"/>
          </ac:spMkLst>
        </pc:spChg>
        <pc:spChg chg="mod">
          <ac:chgData name="Ugo MANTEL" userId="2d5b7065-31bb-4181-a7f8-a73bf0c30211" providerId="ADAL" clId="{287A013E-B4BE-485E-AE94-C2936752CD18}" dt="2020-09-25T09:58:29.258" v="90304"/>
          <ac:spMkLst>
            <pc:docMk/>
            <pc:sldMk cId="3272843785" sldId="262"/>
            <ac:spMk id="176" creationId="{644F69EF-A319-4637-8C83-7C1750CEDA2E}"/>
          </ac:spMkLst>
        </pc:spChg>
        <pc:spChg chg="mod">
          <ac:chgData name="Ugo MANTEL" userId="2d5b7065-31bb-4181-a7f8-a73bf0c30211" providerId="ADAL" clId="{287A013E-B4BE-485E-AE94-C2936752CD18}" dt="2020-09-25T09:58:29.259" v="90306"/>
          <ac:spMkLst>
            <pc:docMk/>
            <pc:sldMk cId="3272843785" sldId="262"/>
            <ac:spMk id="177" creationId="{0D8561B6-7236-4464-86AB-9E5F521CC4EA}"/>
          </ac:spMkLst>
        </pc:spChg>
        <pc:spChg chg="del mod">
          <ac:chgData name="Ugo MANTEL" userId="2d5b7065-31bb-4181-a7f8-a73bf0c30211" providerId="ADAL" clId="{287A013E-B4BE-485E-AE94-C2936752CD18}" dt="2020-09-25T09:55:50.168" v="82940"/>
          <ac:spMkLst>
            <pc:docMk/>
            <pc:sldMk cId="3272843785" sldId="262"/>
            <ac:spMk id="178" creationId="{75E98BBA-8C56-4DE8-B7AA-3507CF7051C7}"/>
          </ac:spMkLst>
        </pc:spChg>
        <pc:graphicFrameChg chg="mod ord">
          <ac:chgData name="Ugo MANTEL" userId="2d5b7065-31bb-4181-a7f8-a73bf0c30211" providerId="ADAL" clId="{287A013E-B4BE-485E-AE94-C2936752CD18}" dt="2020-09-25T09:58:29.268" v="90322"/>
          <ac:graphicFrameMkLst>
            <pc:docMk/>
            <pc:sldMk cId="3272843785" sldId="262"/>
            <ac:graphicFrameMk id="44" creationId="{F9AE5294-21FB-443B-AC9E-47D53F909727}"/>
          </ac:graphicFrameMkLst>
        </pc:graphicFrameChg>
        <pc:graphicFrameChg chg="del">
          <ac:chgData name="Ugo MANTEL" userId="2d5b7065-31bb-4181-a7f8-a73bf0c30211" providerId="ADAL" clId="{287A013E-B4BE-485E-AE94-C2936752CD18}" dt="2020-09-25T09:55:50.956" v="83553"/>
          <ac:graphicFrameMkLst>
            <pc:docMk/>
            <pc:sldMk cId="3272843785" sldId="262"/>
            <ac:graphicFrameMk id="56" creationId="{E012D933-1A53-4C46-87EC-050B4AAC9E3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5T09:55:53.175" v="83875"/>
          <ac:graphicFrameMkLst>
            <pc:docMk/>
            <pc:sldMk cId="3272843785" sldId="262"/>
            <ac:graphicFrameMk id="80" creationId="{E608B93C-6BC1-4036-B3F3-E581E04D43A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5T09:55:55.544" v="84190"/>
          <ac:graphicFrameMkLst>
            <pc:docMk/>
            <pc:sldMk cId="3272843785" sldId="262"/>
            <ac:graphicFrameMk id="82" creationId="{F44EB3F3-5AA0-4002-ADA6-7452DE7EBCA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5T09:55:58.846" v="84495"/>
          <ac:graphicFrameMkLst>
            <pc:docMk/>
            <pc:sldMk cId="3272843785" sldId="262"/>
            <ac:graphicFrameMk id="84" creationId="{6C0304AE-3CBF-4863-AB71-BF35FCAF204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5T09:56:19.702" v="84986"/>
          <ac:graphicFrameMkLst>
            <pc:docMk/>
            <pc:sldMk cId="3272843785" sldId="262"/>
            <ac:graphicFrameMk id="86" creationId="{7D02B0EC-1F7D-4FFD-8689-C40F2D03E80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5T09:56:22.655" v="85289"/>
          <ac:graphicFrameMkLst>
            <pc:docMk/>
            <pc:sldMk cId="3272843785" sldId="262"/>
            <ac:graphicFrameMk id="94" creationId="{AE216E9F-DCE9-4045-B996-A6F77D14CC3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5T09:56:23.728" v="85586"/>
          <ac:graphicFrameMkLst>
            <pc:docMk/>
            <pc:sldMk cId="3272843785" sldId="262"/>
            <ac:graphicFrameMk id="96" creationId="{8D83A5C8-5285-45C3-917B-65DE6E46D8D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5T09:56:24.729" v="85876"/>
          <ac:graphicFrameMkLst>
            <pc:docMk/>
            <pc:sldMk cId="3272843785" sldId="262"/>
            <ac:graphicFrameMk id="98" creationId="{1ED1FAD0-E71C-4A9B-A732-4F61C796DFE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5T09:56:28.078" v="86265"/>
          <ac:graphicFrameMkLst>
            <pc:docMk/>
            <pc:sldMk cId="3272843785" sldId="262"/>
            <ac:graphicFrameMk id="100" creationId="{3E5601CE-3182-4FFB-941B-0453C2D5E91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5T09:57:28.323" v="86623"/>
          <ac:graphicFrameMkLst>
            <pc:docMk/>
            <pc:sldMk cId="3272843785" sldId="262"/>
            <ac:graphicFrameMk id="101" creationId="{A6CC1E66-65EA-41A4-848F-2E0772A4415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5T09:57:41.817" v="87303"/>
          <ac:graphicFrameMkLst>
            <pc:docMk/>
            <pc:sldMk cId="3272843785" sldId="262"/>
            <ac:graphicFrameMk id="102" creationId="{3B071F3F-2AA3-4AAF-8181-D39DA7F8357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5T09:58:01.567" v="87408"/>
          <ac:graphicFrameMkLst>
            <pc:docMk/>
            <pc:sldMk cId="3272843785" sldId="262"/>
            <ac:graphicFrameMk id="118" creationId="{48866F01-7267-4174-A270-423C02AD8D7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5T09:58:05.752" v="87800"/>
          <ac:graphicFrameMkLst>
            <pc:docMk/>
            <pc:sldMk cId="3272843785" sldId="262"/>
            <ac:graphicFrameMk id="119" creationId="{C9161346-9010-432D-9008-01D0EFD2D11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5T09:58:09.993" v="88071"/>
          <ac:graphicFrameMkLst>
            <pc:docMk/>
            <pc:sldMk cId="3272843785" sldId="262"/>
            <ac:graphicFrameMk id="121" creationId="{D9B413AB-FBAE-4454-9FFC-F7620401642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5T09:58:11.308" v="88336"/>
          <ac:graphicFrameMkLst>
            <pc:docMk/>
            <pc:sldMk cId="3272843785" sldId="262"/>
            <ac:graphicFrameMk id="123" creationId="{5D7B68A2-E544-45AA-8D87-3BE19A8587A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5T09:58:13.452" v="88594"/>
          <ac:graphicFrameMkLst>
            <pc:docMk/>
            <pc:sldMk cId="3272843785" sldId="262"/>
            <ac:graphicFrameMk id="125" creationId="{D0807B69-5DE2-458C-9288-512391E8EAE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5T09:58:17.437" v="88959"/>
          <ac:graphicFrameMkLst>
            <pc:docMk/>
            <pc:sldMk cId="3272843785" sldId="262"/>
            <ac:graphicFrameMk id="127" creationId="{A0850629-86A9-4D99-978F-DA205A5F09B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5T09:58:23.963" v="89317"/>
          <ac:graphicFrameMkLst>
            <pc:docMk/>
            <pc:sldMk cId="3272843785" sldId="262"/>
            <ac:graphicFrameMk id="128" creationId="{BA887825-E7BB-4A0A-AD26-F13F040B23F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5T09:58:26.157" v="89658"/>
          <ac:graphicFrameMkLst>
            <pc:docMk/>
            <pc:sldMk cId="3272843785" sldId="262"/>
            <ac:graphicFrameMk id="129" creationId="{B7C34DF3-20CE-4CC0-BD98-BA9DBBC8620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5T09:58:28.012" v="90016"/>
          <ac:graphicFrameMkLst>
            <pc:docMk/>
            <pc:sldMk cId="3272843785" sldId="262"/>
            <ac:graphicFrameMk id="130" creationId="{34DB47BF-015D-4CB7-BC7C-490BDA74C9E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25T09:58:29.218" v="90238"/>
          <ac:graphicFrameMkLst>
            <pc:docMk/>
            <pc:sldMk cId="3272843785" sldId="262"/>
            <ac:graphicFrameMk id="131" creationId="{B9DAAC27-1C17-4571-8A3B-00BDD603A881}"/>
          </ac:graphicFrameMkLst>
        </pc:graphicFrameChg>
        <pc:graphicFrameChg chg="add mod ord">
          <ac:chgData name="Ugo MANTEL" userId="2d5b7065-31bb-4181-a7f8-a73bf0c30211" providerId="ADAL" clId="{287A013E-B4BE-485E-AE94-C2936752CD18}" dt="2020-09-25T09:58:29.247" v="90276"/>
          <ac:graphicFrameMkLst>
            <pc:docMk/>
            <pc:sldMk cId="3272843785" sldId="262"/>
            <ac:graphicFrameMk id="132" creationId="{88850FBD-EB05-4601-B2E5-116BBC76B72F}"/>
          </ac:graphicFrameMkLst>
        </pc:graphicFrameChg>
        <pc:cxnChg chg="mod ord">
          <ac:chgData name="Ugo MANTEL" userId="2d5b7065-31bb-4181-a7f8-a73bf0c30211" providerId="ADAL" clId="{287A013E-B4BE-485E-AE94-C2936752CD18}" dt="2020-09-25T09:58:29.245" v="90268"/>
          <ac:cxnSpMkLst>
            <pc:docMk/>
            <pc:sldMk cId="3272843785" sldId="262"/>
            <ac:cxnSpMk id="4" creationId="{AE69C7FE-B306-4E03-8A12-629329FE6434}"/>
          </ac:cxnSpMkLst>
        </pc:cxnChg>
        <pc:cxnChg chg="mod ord">
          <ac:chgData name="Ugo MANTEL" userId="2d5b7065-31bb-4181-a7f8-a73bf0c30211" providerId="ADAL" clId="{287A013E-B4BE-485E-AE94-C2936752CD18}" dt="2020-09-25T09:58:29.244" v="90266"/>
          <ac:cxnSpMkLst>
            <pc:docMk/>
            <pc:sldMk cId="3272843785" sldId="262"/>
            <ac:cxnSpMk id="5" creationId="{31267229-A759-41B5-B57C-85276F403621}"/>
          </ac:cxnSpMkLst>
        </pc:cxnChg>
        <pc:cxnChg chg="mod ord">
          <ac:chgData name="Ugo MANTEL" userId="2d5b7065-31bb-4181-a7f8-a73bf0c30211" providerId="ADAL" clId="{287A013E-B4BE-485E-AE94-C2936752CD18}" dt="2020-09-25T09:58:29.243" v="90262"/>
          <ac:cxnSpMkLst>
            <pc:docMk/>
            <pc:sldMk cId="3272843785" sldId="262"/>
            <ac:cxnSpMk id="6" creationId="{8053F143-8075-4B34-B8B8-C33571F2C88A}"/>
          </ac:cxnSpMkLst>
        </pc:cxnChg>
        <pc:cxnChg chg="mod ord">
          <ac:chgData name="Ugo MANTEL" userId="2d5b7065-31bb-4181-a7f8-a73bf0c30211" providerId="ADAL" clId="{287A013E-B4BE-485E-AE94-C2936752CD18}" dt="2020-09-25T09:58:29.245" v="90270"/>
          <ac:cxnSpMkLst>
            <pc:docMk/>
            <pc:sldMk cId="3272843785" sldId="262"/>
            <ac:cxnSpMk id="7" creationId="{8CC86932-1395-4059-86B8-87E19AB49B34}"/>
          </ac:cxnSpMkLst>
        </pc:cxnChg>
        <pc:cxnChg chg="mod ord">
          <ac:chgData name="Ugo MANTEL" userId="2d5b7065-31bb-4181-a7f8-a73bf0c30211" providerId="ADAL" clId="{287A013E-B4BE-485E-AE94-C2936752CD18}" dt="2020-09-25T09:58:29.240" v="90254"/>
          <ac:cxnSpMkLst>
            <pc:docMk/>
            <pc:sldMk cId="3272843785" sldId="262"/>
            <ac:cxnSpMk id="8" creationId="{62064129-2E28-40C1-A365-3EAF8D692731}"/>
          </ac:cxnSpMkLst>
        </pc:cxnChg>
        <pc:cxnChg chg="mod ord">
          <ac:chgData name="Ugo MANTEL" userId="2d5b7065-31bb-4181-a7f8-a73bf0c30211" providerId="ADAL" clId="{287A013E-B4BE-485E-AE94-C2936752CD18}" dt="2020-09-25T09:58:29.241" v="90256"/>
          <ac:cxnSpMkLst>
            <pc:docMk/>
            <pc:sldMk cId="3272843785" sldId="262"/>
            <ac:cxnSpMk id="9" creationId="{41BC0B30-ED35-4001-A1D6-139AF8FB2FD8}"/>
          </ac:cxnSpMkLst>
        </pc:cxnChg>
        <pc:cxnChg chg="mod ord">
          <ac:chgData name="Ugo MANTEL" userId="2d5b7065-31bb-4181-a7f8-a73bf0c30211" providerId="ADAL" clId="{287A013E-B4BE-485E-AE94-C2936752CD18}" dt="2020-09-25T09:58:29.246" v="90274"/>
          <ac:cxnSpMkLst>
            <pc:docMk/>
            <pc:sldMk cId="3272843785" sldId="262"/>
            <ac:cxnSpMk id="10" creationId="{921D8B75-C883-4944-B136-358BD997DDA3}"/>
          </ac:cxnSpMkLst>
        </pc:cxnChg>
        <pc:cxnChg chg="mod ord">
          <ac:chgData name="Ugo MANTEL" userId="2d5b7065-31bb-4181-a7f8-a73bf0c30211" providerId="ADAL" clId="{287A013E-B4BE-485E-AE94-C2936752CD18}" dt="2020-09-25T09:58:29.243" v="90264"/>
          <ac:cxnSpMkLst>
            <pc:docMk/>
            <pc:sldMk cId="3272843785" sldId="262"/>
            <ac:cxnSpMk id="11" creationId="{985DF3CB-9384-404E-AB5A-ABDC96776C30}"/>
          </ac:cxnSpMkLst>
        </pc:cxnChg>
        <pc:cxnChg chg="mod ord">
          <ac:chgData name="Ugo MANTEL" userId="2d5b7065-31bb-4181-a7f8-a73bf0c30211" providerId="ADAL" clId="{287A013E-B4BE-485E-AE94-C2936752CD18}" dt="2020-09-25T09:58:29.246" v="90272"/>
          <ac:cxnSpMkLst>
            <pc:docMk/>
            <pc:sldMk cId="3272843785" sldId="262"/>
            <ac:cxnSpMk id="12" creationId="{660FA607-6CB1-4897-98EF-EBA7EAD6C283}"/>
          </ac:cxnSpMkLst>
        </pc:cxnChg>
        <pc:cxnChg chg="mod ord">
          <ac:chgData name="Ugo MANTEL" userId="2d5b7065-31bb-4181-a7f8-a73bf0c30211" providerId="ADAL" clId="{287A013E-B4BE-485E-AE94-C2936752CD18}" dt="2020-09-25T09:58:29.242" v="90258"/>
          <ac:cxnSpMkLst>
            <pc:docMk/>
            <pc:sldMk cId="3272843785" sldId="262"/>
            <ac:cxnSpMk id="13" creationId="{7E64383D-B260-4ED8-A534-94181DD7FFF2}"/>
          </ac:cxnSpMkLst>
        </pc:cxnChg>
        <pc:cxnChg chg="mod ord">
          <ac:chgData name="Ugo MANTEL" userId="2d5b7065-31bb-4181-a7f8-a73bf0c30211" providerId="ADAL" clId="{287A013E-B4BE-485E-AE94-C2936752CD18}" dt="2020-09-25T09:58:29.242" v="90260"/>
          <ac:cxnSpMkLst>
            <pc:docMk/>
            <pc:sldMk cId="3272843785" sldId="262"/>
            <ac:cxnSpMk id="14" creationId="{DB88B253-97A1-48F6-AD5F-D88ADB388518}"/>
          </ac:cxnSpMkLst>
        </pc:cxnChg>
        <pc:cxnChg chg="mod ord">
          <ac:chgData name="Ugo MANTEL" userId="2d5b7065-31bb-4181-a7f8-a73bf0c30211" providerId="ADAL" clId="{287A013E-B4BE-485E-AE94-C2936752CD18}" dt="2020-09-25T09:58:29.240" v="90252"/>
          <ac:cxnSpMkLst>
            <pc:docMk/>
            <pc:sldMk cId="3272843785" sldId="262"/>
            <ac:cxnSpMk id="15" creationId="{C458EA12-4C08-42D5-85F6-D0BBEC493261}"/>
          </ac:cxnSpMkLst>
        </pc:cxnChg>
        <pc:cxnChg chg="add del mod ord">
          <ac:chgData name="Ugo MANTEL" userId="2d5b7065-31bb-4181-a7f8-a73bf0c30211" providerId="ADAL" clId="{287A013E-B4BE-485E-AE94-C2936752CD18}" dt="2020-09-25T09:55:53.052" v="83703"/>
          <ac:cxnSpMkLst>
            <pc:docMk/>
            <pc:sldMk cId="3272843785" sldId="262"/>
            <ac:cxnSpMk id="16" creationId="{0752FAAD-B90B-49A6-8653-F907F6B2AC59}"/>
          </ac:cxnSpMkLst>
        </pc:cxnChg>
        <pc:cxnChg chg="add del mod ord">
          <ac:chgData name="Ugo MANTEL" userId="2d5b7065-31bb-4181-a7f8-a73bf0c30211" providerId="ADAL" clId="{287A013E-B4BE-485E-AE94-C2936752CD18}" dt="2020-09-25T09:55:55.404" v="84023"/>
          <ac:cxnSpMkLst>
            <pc:docMk/>
            <pc:sldMk cId="3272843785" sldId="262"/>
            <ac:cxnSpMk id="19" creationId="{F404059F-F648-4645-BDF7-185675CAC448}"/>
          </ac:cxnSpMkLst>
        </pc:cxnChg>
        <pc:cxnChg chg="add del mod ord">
          <ac:chgData name="Ugo MANTEL" userId="2d5b7065-31bb-4181-a7f8-a73bf0c30211" providerId="ADAL" clId="{287A013E-B4BE-485E-AE94-C2936752CD18}" dt="2020-09-25T09:55:58.624" v="84335"/>
          <ac:cxnSpMkLst>
            <pc:docMk/>
            <pc:sldMk cId="3272843785" sldId="262"/>
            <ac:cxnSpMk id="22" creationId="{A2BB548E-CAF8-4204-9902-EEDE3792D91A}"/>
          </ac:cxnSpMkLst>
        </pc:cxnChg>
        <pc:cxnChg chg="add del mod ord">
          <ac:chgData name="Ugo MANTEL" userId="2d5b7065-31bb-4181-a7f8-a73bf0c30211" providerId="ADAL" clId="{287A013E-B4BE-485E-AE94-C2936752CD18}" dt="2020-09-25T09:56:27.873" v="85987"/>
          <ac:cxnSpMkLst>
            <pc:docMk/>
            <pc:sldMk cId="3272843785" sldId="262"/>
            <ac:cxnSpMk id="23" creationId="{D35BFE82-FA35-4770-962C-3F5D5D67B164}"/>
          </ac:cxnSpMkLst>
        </pc:cxnChg>
        <pc:cxnChg chg="add del mod ord">
          <ac:chgData name="Ugo MANTEL" userId="2d5b7065-31bb-4181-a7f8-a73bf0c30211" providerId="ADAL" clId="{287A013E-B4BE-485E-AE94-C2936752CD18}" dt="2020-09-25T09:56:27.875" v="85990"/>
          <ac:cxnSpMkLst>
            <pc:docMk/>
            <pc:sldMk cId="3272843785" sldId="262"/>
            <ac:cxnSpMk id="24" creationId="{2121131B-0542-403B-AF25-29B5E7D8374D}"/>
          </ac:cxnSpMkLst>
        </pc:cxnChg>
        <pc:cxnChg chg="add del mod ord">
          <ac:chgData name="Ugo MANTEL" userId="2d5b7065-31bb-4181-a7f8-a73bf0c30211" providerId="ADAL" clId="{287A013E-B4BE-485E-AE94-C2936752CD18}" dt="2020-09-25T09:56:27.876" v="85993"/>
          <ac:cxnSpMkLst>
            <pc:docMk/>
            <pc:sldMk cId="3272843785" sldId="262"/>
            <ac:cxnSpMk id="25" creationId="{51FE5C19-FD1F-4355-961E-F50F4324C234}"/>
          </ac:cxnSpMkLst>
        </pc:cxnChg>
        <pc:cxnChg chg="add del mod ord">
          <ac:chgData name="Ugo MANTEL" userId="2d5b7065-31bb-4181-a7f8-a73bf0c30211" providerId="ADAL" clId="{287A013E-B4BE-485E-AE94-C2936752CD18}" dt="2020-09-25T09:56:27.878" v="85996"/>
          <ac:cxnSpMkLst>
            <pc:docMk/>
            <pc:sldMk cId="3272843785" sldId="262"/>
            <ac:cxnSpMk id="26" creationId="{1DADDA9C-19E9-46B2-B1C2-FF7993F4C921}"/>
          </ac:cxnSpMkLst>
        </pc:cxnChg>
        <pc:cxnChg chg="mod ord">
          <ac:chgData name="Ugo MANTEL" userId="2d5b7065-31bb-4181-a7f8-a73bf0c30211" providerId="ADAL" clId="{287A013E-B4BE-485E-AE94-C2936752CD18}" dt="2020-09-25T09:58:29.248" v="90278"/>
          <ac:cxnSpMkLst>
            <pc:docMk/>
            <pc:sldMk cId="3272843785" sldId="262"/>
            <ac:cxnSpMk id="27" creationId="{AFF0B8F1-CA42-46B3-A1F6-72079A7B0D28}"/>
          </ac:cxnSpMkLst>
        </pc:cxnChg>
        <pc:cxnChg chg="mod ord">
          <ac:chgData name="Ugo MANTEL" userId="2d5b7065-31bb-4181-a7f8-a73bf0c30211" providerId="ADAL" clId="{287A013E-B4BE-485E-AE94-C2936752CD18}" dt="2020-09-25T09:58:29.248" v="90280"/>
          <ac:cxnSpMkLst>
            <pc:docMk/>
            <pc:sldMk cId="3272843785" sldId="262"/>
            <ac:cxnSpMk id="28" creationId="{D4A70354-3411-4330-B0CB-7162769D8411}"/>
          </ac:cxnSpMkLst>
        </pc:cxnChg>
        <pc:cxnChg chg="add del mod ord">
          <ac:chgData name="Ugo MANTEL" userId="2d5b7065-31bb-4181-a7f8-a73bf0c30211" providerId="ADAL" clId="{287A013E-B4BE-485E-AE94-C2936752CD18}" dt="2020-09-25T09:56:27.888" v="86007"/>
          <ac:cxnSpMkLst>
            <pc:docMk/>
            <pc:sldMk cId="3272843785" sldId="262"/>
            <ac:cxnSpMk id="43" creationId="{B64086E3-FDF8-4060-8889-05CF4E553E5E}"/>
          </ac:cxnSpMkLst>
        </pc:cxnChg>
        <pc:cxnChg chg="add del mod ord">
          <ac:chgData name="Ugo MANTEL" userId="2d5b7065-31bb-4181-a7f8-a73bf0c30211" providerId="ADAL" clId="{287A013E-B4BE-485E-AE94-C2936752CD18}" dt="2020-09-25T09:56:27.879" v="85998"/>
          <ac:cxnSpMkLst>
            <pc:docMk/>
            <pc:sldMk cId="3272843785" sldId="262"/>
            <ac:cxnSpMk id="45" creationId="{861D9904-D5AD-40F3-8E40-9A55A71B250B}"/>
          </ac:cxnSpMkLst>
        </pc:cxnChg>
        <pc:cxnChg chg="add del mod ord">
          <ac:chgData name="Ugo MANTEL" userId="2d5b7065-31bb-4181-a7f8-a73bf0c30211" providerId="ADAL" clId="{287A013E-B4BE-485E-AE94-C2936752CD18}" dt="2020-09-25T09:56:27.881" v="86001"/>
          <ac:cxnSpMkLst>
            <pc:docMk/>
            <pc:sldMk cId="3272843785" sldId="262"/>
            <ac:cxnSpMk id="46" creationId="{45322CFC-1F3A-49DD-93E8-462BB728929E}"/>
          </ac:cxnSpMkLst>
        </pc:cxnChg>
        <pc:cxnChg chg="add del mod ord">
          <ac:chgData name="Ugo MANTEL" userId="2d5b7065-31bb-4181-a7f8-a73bf0c30211" providerId="ADAL" clId="{287A013E-B4BE-485E-AE94-C2936752CD18}" dt="2020-09-25T09:56:27.885" v="86004"/>
          <ac:cxnSpMkLst>
            <pc:docMk/>
            <pc:sldMk cId="3272843785" sldId="262"/>
            <ac:cxnSpMk id="47" creationId="{2A3B20D6-DEF4-46DE-9A8D-9A692E273C94}"/>
          </ac:cxnSpMkLst>
        </pc:cxnChg>
        <pc:cxnChg chg="mod ord">
          <ac:chgData name="Ugo MANTEL" userId="2d5b7065-31bb-4181-a7f8-a73bf0c30211" providerId="ADAL" clId="{287A013E-B4BE-485E-AE94-C2936752CD18}" dt="2020-09-25T09:58:29.253" v="90286"/>
          <ac:cxnSpMkLst>
            <pc:docMk/>
            <pc:sldMk cId="3272843785" sldId="262"/>
            <ac:cxnSpMk id="48" creationId="{7AEE2A3D-8E34-47ED-A744-162D7F6FF665}"/>
          </ac:cxnSpMkLst>
        </pc:cxnChg>
        <pc:cxnChg chg="mod ord">
          <ac:chgData name="Ugo MANTEL" userId="2d5b7065-31bb-4181-a7f8-a73bf0c30211" providerId="ADAL" clId="{287A013E-B4BE-485E-AE94-C2936752CD18}" dt="2020-09-25T09:58:29.253" v="90288"/>
          <ac:cxnSpMkLst>
            <pc:docMk/>
            <pc:sldMk cId="3272843785" sldId="262"/>
            <ac:cxnSpMk id="49" creationId="{62D9085D-E074-4287-9CB1-C0A337A374E8}"/>
          </ac:cxnSpMkLst>
        </pc:cxnChg>
        <pc:cxnChg chg="mod ord">
          <ac:chgData name="Ugo MANTEL" userId="2d5b7065-31bb-4181-a7f8-a73bf0c30211" providerId="ADAL" clId="{287A013E-B4BE-485E-AE94-C2936752CD18}" dt="2020-09-25T09:58:29.254" v="90290"/>
          <ac:cxnSpMkLst>
            <pc:docMk/>
            <pc:sldMk cId="3272843785" sldId="262"/>
            <ac:cxnSpMk id="50" creationId="{96AD1A1B-4041-4EFF-AF08-BEAC86A7C476}"/>
          </ac:cxnSpMkLst>
        </pc:cxnChg>
        <pc:cxnChg chg="add del mod ord">
          <ac:chgData name="Ugo MANTEL" userId="2d5b7065-31bb-4181-a7f8-a73bf0c30211" providerId="ADAL" clId="{287A013E-B4BE-485E-AE94-C2936752CD18}" dt="2020-09-25T09:56:22.512" v="85123"/>
          <ac:cxnSpMkLst>
            <pc:docMk/>
            <pc:sldMk cId="3272843785" sldId="262"/>
            <ac:cxnSpMk id="51" creationId="{B682A5B9-2353-4CF5-986F-37F4DCFAB774}"/>
          </ac:cxnSpMkLst>
        </pc:cxnChg>
        <pc:cxnChg chg="add del mod ord">
          <ac:chgData name="Ugo MANTEL" userId="2d5b7065-31bb-4181-a7f8-a73bf0c30211" providerId="ADAL" clId="{287A013E-B4BE-485E-AE94-C2936752CD18}" dt="2020-09-25T09:56:23.612" v="85424"/>
          <ac:cxnSpMkLst>
            <pc:docMk/>
            <pc:sldMk cId="3272843785" sldId="262"/>
            <ac:cxnSpMk id="53" creationId="{776C57F4-F253-455A-A371-A39BB409461B}"/>
          </ac:cxnSpMkLst>
        </pc:cxnChg>
        <pc:cxnChg chg="mod ord">
          <ac:chgData name="Ugo MANTEL" userId="2d5b7065-31bb-4181-a7f8-a73bf0c30211" providerId="ADAL" clId="{287A013E-B4BE-485E-AE94-C2936752CD18}" dt="2020-09-25T09:58:29.251" v="90284"/>
          <ac:cxnSpMkLst>
            <pc:docMk/>
            <pc:sldMk cId="3272843785" sldId="262"/>
            <ac:cxnSpMk id="55" creationId="{DC392ED1-FF98-4357-80E3-B092B35EC892}"/>
          </ac:cxnSpMkLst>
        </pc:cxnChg>
        <pc:cxnChg chg="mod ord">
          <ac:chgData name="Ugo MANTEL" userId="2d5b7065-31bb-4181-a7f8-a73bf0c30211" providerId="ADAL" clId="{287A013E-B4BE-485E-AE94-C2936752CD18}" dt="2020-09-25T09:58:29.255" v="90292"/>
          <ac:cxnSpMkLst>
            <pc:docMk/>
            <pc:sldMk cId="3272843785" sldId="262"/>
            <ac:cxnSpMk id="65" creationId="{25DAF424-2142-44D7-929C-3F9158F27E56}"/>
          </ac:cxnSpMkLst>
        </pc:cxnChg>
        <pc:cxnChg chg="mod ord">
          <ac:chgData name="Ugo MANTEL" userId="2d5b7065-31bb-4181-a7f8-a73bf0c30211" providerId="ADAL" clId="{287A013E-B4BE-485E-AE94-C2936752CD18}" dt="2020-09-25T09:58:29.255" v="90294"/>
          <ac:cxnSpMkLst>
            <pc:docMk/>
            <pc:sldMk cId="3272843785" sldId="262"/>
            <ac:cxnSpMk id="68" creationId="{EC9B605C-27F3-4ECE-9C8E-8D5F8CB12AAB}"/>
          </ac:cxnSpMkLst>
        </pc:cxnChg>
        <pc:cxnChg chg="add del mod ord">
          <ac:chgData name="Ugo MANTEL" userId="2d5b7065-31bb-4181-a7f8-a73bf0c30211" providerId="ADAL" clId="{287A013E-B4BE-485E-AE94-C2936752CD18}" dt="2020-09-25T09:56:24.628" v="85719"/>
          <ac:cxnSpMkLst>
            <pc:docMk/>
            <pc:sldMk cId="3272843785" sldId="262"/>
            <ac:cxnSpMk id="69" creationId="{B1BC8310-A2D1-4DA8-8226-3EE0C059566E}"/>
          </ac:cxnSpMkLst>
        </pc:cxnChg>
        <pc:cxnChg chg="add del mod ord">
          <ac:chgData name="Ugo MANTEL" userId="2d5b7065-31bb-4181-a7f8-a73bf0c30211" providerId="ADAL" clId="{287A013E-B4BE-485E-AE94-C2936752CD18}" dt="2020-09-25T09:58:09.910" v="87925"/>
          <ac:cxnSpMkLst>
            <pc:docMk/>
            <pc:sldMk cId="3272843785" sldId="262"/>
            <ac:cxnSpMk id="70" creationId="{31140D65-7D1B-4937-B8A7-6C6CABC78E82}"/>
          </ac:cxnSpMkLst>
        </pc:cxnChg>
        <pc:cxnChg chg="add del mod ord">
          <ac:chgData name="Ugo MANTEL" userId="2d5b7065-31bb-4181-a7f8-a73bf0c30211" providerId="ADAL" clId="{287A013E-B4BE-485E-AE94-C2936752CD18}" dt="2020-09-25T09:58:11.221" v="88194"/>
          <ac:cxnSpMkLst>
            <pc:docMk/>
            <pc:sldMk cId="3272843785" sldId="262"/>
            <ac:cxnSpMk id="72" creationId="{567447D2-5495-4B3F-8F03-EA11FA430BBB}"/>
          </ac:cxnSpMkLst>
        </pc:cxnChg>
        <pc:cxnChg chg="add del mod ord">
          <ac:chgData name="Ugo MANTEL" userId="2d5b7065-31bb-4181-a7f8-a73bf0c30211" providerId="ADAL" clId="{287A013E-B4BE-485E-AE94-C2936752CD18}" dt="2020-09-25T09:58:13.376" v="88457"/>
          <ac:cxnSpMkLst>
            <pc:docMk/>
            <pc:sldMk cId="3272843785" sldId="262"/>
            <ac:cxnSpMk id="73" creationId="{A10238D1-BCE0-4331-B931-1F451A8C647C}"/>
          </ac:cxnSpMkLst>
        </pc:cxnChg>
        <pc:cxnChg chg="add del mod ord">
          <ac:chgData name="Ugo MANTEL" userId="2d5b7065-31bb-4181-a7f8-a73bf0c30211" providerId="ADAL" clId="{287A013E-B4BE-485E-AE94-C2936752CD18}" dt="2020-09-25T09:58:17.321" v="88693"/>
          <ac:cxnSpMkLst>
            <pc:docMk/>
            <pc:sldMk cId="3272843785" sldId="262"/>
            <ac:cxnSpMk id="74" creationId="{9949CE5A-CE73-4C48-9532-F22331F64D87}"/>
          </ac:cxnSpMkLst>
        </pc:cxnChg>
        <pc:cxnChg chg="add del mod ord">
          <ac:chgData name="Ugo MANTEL" userId="2d5b7065-31bb-4181-a7f8-a73bf0c30211" providerId="ADAL" clId="{287A013E-B4BE-485E-AE94-C2936752CD18}" dt="2020-09-25T09:58:17.323" v="88696"/>
          <ac:cxnSpMkLst>
            <pc:docMk/>
            <pc:sldMk cId="3272843785" sldId="262"/>
            <ac:cxnSpMk id="75" creationId="{A12DD0A7-228A-4B3B-AABE-F392626917F2}"/>
          </ac:cxnSpMkLst>
        </pc:cxnChg>
        <pc:cxnChg chg="add del mod ord">
          <ac:chgData name="Ugo MANTEL" userId="2d5b7065-31bb-4181-a7f8-a73bf0c30211" providerId="ADAL" clId="{287A013E-B4BE-485E-AE94-C2936752CD18}" dt="2020-09-25T09:58:17.327" v="88701"/>
          <ac:cxnSpMkLst>
            <pc:docMk/>
            <pc:sldMk cId="3272843785" sldId="262"/>
            <ac:cxnSpMk id="76" creationId="{8D8C45B9-787E-4775-866B-FFD01614E7E9}"/>
          </ac:cxnSpMkLst>
        </pc:cxnChg>
        <pc:cxnChg chg="add del mod ord">
          <ac:chgData name="Ugo MANTEL" userId="2d5b7065-31bb-4181-a7f8-a73bf0c30211" providerId="ADAL" clId="{287A013E-B4BE-485E-AE94-C2936752CD18}" dt="2020-09-25T09:58:17.325" v="88698"/>
          <ac:cxnSpMkLst>
            <pc:docMk/>
            <pc:sldMk cId="3272843785" sldId="262"/>
            <ac:cxnSpMk id="77" creationId="{46D050E5-61F1-4AB2-915D-54088C569D40}"/>
          </ac:cxnSpMkLst>
        </pc:cxnChg>
        <pc:cxnChg chg="mod ord">
          <ac:chgData name="Ugo MANTEL" userId="2d5b7065-31bb-4181-a7f8-a73bf0c30211" providerId="ADAL" clId="{287A013E-B4BE-485E-AE94-C2936752CD18}" dt="2020-09-25T09:58:29.249" v="90282"/>
          <ac:cxnSpMkLst>
            <pc:docMk/>
            <pc:sldMk cId="3272843785" sldId="262"/>
            <ac:cxnSpMk id="186" creationId="{D50359F6-228C-411C-A49B-4FA415B15229}"/>
          </ac:cxnSpMkLst>
        </pc:cxnChg>
      </pc:sldChg>
      <pc:sldChg chg="addSp delSp modSp new add del mod">
        <pc:chgData name="Ugo MANTEL" userId="2d5b7065-31bb-4181-a7f8-a73bf0c30211" providerId="ADAL" clId="{287A013E-B4BE-485E-AE94-C2936752CD18}" dt="2020-09-30T13:33:01.267" v="101282" actId="47"/>
        <pc:sldMkLst>
          <pc:docMk/>
          <pc:sldMk cId="2165606813" sldId="263"/>
        </pc:sldMkLst>
        <pc:spChg chg="mod">
          <ac:chgData name="Ugo MANTEL" userId="2d5b7065-31bb-4181-a7f8-a73bf0c30211" providerId="ADAL" clId="{287A013E-B4BE-485E-AE94-C2936752CD18}" dt="2020-09-30T13:32:59.963" v="101251"/>
          <ac:spMkLst>
            <pc:docMk/>
            <pc:sldMk cId="2165606813" sldId="263"/>
            <ac:spMk id="2" creationId="{21489B38-9AD5-4A24-AB06-C5A701F3DDB6}"/>
          </ac:spMkLst>
        </pc:spChg>
        <pc:spChg chg="mod ord">
          <ac:chgData name="Ugo MANTEL" userId="2d5b7065-31bb-4181-a7f8-a73bf0c30211" providerId="ADAL" clId="{287A013E-B4BE-485E-AE94-C2936752CD18}" dt="2020-09-30T13:32:59.964" v="101253"/>
          <ac:spMkLst>
            <pc:docMk/>
            <pc:sldMk cId="2165606813" sldId="263"/>
            <ac:spMk id="3" creationId="{A72A0706-BC1C-4D7D-88A1-EBC212391016}"/>
          </ac:spMkLst>
        </pc:spChg>
        <pc:spChg chg="add mod">
          <ac:chgData name="Ugo MANTEL" userId="2d5b7065-31bb-4181-a7f8-a73bf0c30211" providerId="ADAL" clId="{287A013E-B4BE-485E-AE94-C2936752CD18}" dt="2020-09-30T13:32:59.973" v="101278"/>
          <ac:spMkLst>
            <pc:docMk/>
            <pc:sldMk cId="2165606813" sldId="263"/>
            <ac:spMk id="4" creationId="{E5C08E92-0498-45DC-BCB9-94CC372B77BF}"/>
          </ac:spMkLst>
        </pc:spChg>
        <pc:spChg chg="add mod ord modVis">
          <ac:chgData name="Ugo MANTEL" userId="2d5b7065-31bb-4181-a7f8-a73bf0c30211" providerId="ADAL" clId="{287A013E-B4BE-485E-AE94-C2936752CD18}" dt="2020-09-30T13:32:59.962" v="101250"/>
          <ac:spMkLst>
            <pc:docMk/>
            <pc:sldMk cId="2165606813" sldId="263"/>
            <ac:spMk id="5" creationId="{006B1967-C3D5-43B7-8AAC-E0E64CF8960E}"/>
          </ac:spMkLst>
        </pc:spChg>
        <pc:spChg chg="add mod">
          <ac:chgData name="Ugo MANTEL" userId="2d5b7065-31bb-4181-a7f8-a73bf0c30211" providerId="ADAL" clId="{287A013E-B4BE-485E-AE94-C2936752CD18}" dt="2020-09-30T13:32:59.973" v="101279"/>
          <ac:spMkLst>
            <pc:docMk/>
            <pc:sldMk cId="2165606813" sldId="263"/>
            <ac:spMk id="6" creationId="{2352A543-8C73-496D-B257-5567295FBB36}"/>
          </ac:spMkLst>
        </pc:spChg>
        <pc:spChg chg="add mod">
          <ac:chgData name="Ugo MANTEL" userId="2d5b7065-31bb-4181-a7f8-a73bf0c30211" providerId="ADAL" clId="{287A013E-B4BE-485E-AE94-C2936752CD18}" dt="2020-09-30T13:32:59.969" v="101268"/>
          <ac:spMkLst>
            <pc:docMk/>
            <pc:sldMk cId="2165606813" sldId="263"/>
            <ac:spMk id="7" creationId="{34888BF8-0A82-489C-865F-2E4E094C9FEB}"/>
          </ac:spMkLst>
        </pc:spChg>
        <pc:spChg chg="add mod">
          <ac:chgData name="Ugo MANTEL" userId="2d5b7065-31bb-4181-a7f8-a73bf0c30211" providerId="ADAL" clId="{287A013E-B4BE-485E-AE94-C2936752CD18}" dt="2020-09-30T13:32:59.969" v="101269"/>
          <ac:spMkLst>
            <pc:docMk/>
            <pc:sldMk cId="2165606813" sldId="263"/>
            <ac:spMk id="8" creationId="{49135B87-29B7-4A6F-8A26-540061087BF1}"/>
          </ac:spMkLst>
        </pc:spChg>
        <pc:spChg chg="add mod">
          <ac:chgData name="Ugo MANTEL" userId="2d5b7065-31bb-4181-a7f8-a73bf0c30211" providerId="ADAL" clId="{287A013E-B4BE-485E-AE94-C2936752CD18}" dt="2020-09-30T13:32:59.968" v="101267"/>
          <ac:spMkLst>
            <pc:docMk/>
            <pc:sldMk cId="2165606813" sldId="263"/>
            <ac:spMk id="9" creationId="{023FD868-CAC1-4CFB-84C0-6EE2B3AB9A55}"/>
          </ac:spMkLst>
        </pc:spChg>
        <pc:spChg chg="add mod">
          <ac:chgData name="Ugo MANTEL" userId="2d5b7065-31bb-4181-a7f8-a73bf0c30211" providerId="ADAL" clId="{287A013E-B4BE-485E-AE94-C2936752CD18}" dt="2020-09-30T13:32:59.972" v="101276"/>
          <ac:spMkLst>
            <pc:docMk/>
            <pc:sldMk cId="2165606813" sldId="263"/>
            <ac:spMk id="11" creationId="{83C7853C-5616-441A-93C9-B8555F79AC84}"/>
          </ac:spMkLst>
        </pc:spChg>
        <pc:spChg chg="add mod">
          <ac:chgData name="Ugo MANTEL" userId="2d5b7065-31bb-4181-a7f8-a73bf0c30211" providerId="ADAL" clId="{287A013E-B4BE-485E-AE94-C2936752CD18}" dt="2020-09-30T13:32:59.972" v="101277"/>
          <ac:spMkLst>
            <pc:docMk/>
            <pc:sldMk cId="2165606813" sldId="263"/>
            <ac:spMk id="12" creationId="{EF9B605F-3402-4482-AC75-240C527E43DD}"/>
          </ac:spMkLst>
        </pc:spChg>
        <pc:spChg chg="add del mod">
          <ac:chgData name="Ugo MANTEL" userId="2d5b7065-31bb-4181-a7f8-a73bf0c30211" providerId="ADAL" clId="{287A013E-B4BE-485E-AE94-C2936752CD18}" dt="2020-09-30T13:32:26.493" v="99258"/>
          <ac:spMkLst>
            <pc:docMk/>
            <pc:sldMk cId="2165606813" sldId="263"/>
            <ac:spMk id="16" creationId="{55384873-FF81-4737-A965-AC8BEC85E68C}"/>
          </ac:spMkLst>
        </pc:spChg>
        <pc:spChg chg="add del mod">
          <ac:chgData name="Ugo MANTEL" userId="2d5b7065-31bb-4181-a7f8-a73bf0c30211" providerId="ADAL" clId="{287A013E-B4BE-485E-AE94-C2936752CD18}" dt="2020-09-30T13:32:25.145" v="98603"/>
          <ac:spMkLst>
            <pc:docMk/>
            <pc:sldMk cId="2165606813" sldId="263"/>
            <ac:spMk id="17" creationId="{981F4D34-99A8-4415-B7E8-2C50DD0CC716}"/>
          </ac:spMkLst>
        </pc:spChg>
        <pc:spChg chg="add del mod">
          <ac:chgData name="Ugo MANTEL" userId="2d5b7065-31bb-4181-a7f8-a73bf0c30211" providerId="ADAL" clId="{287A013E-B4BE-485E-AE94-C2936752CD18}" dt="2020-09-30T13:32:25.145" v="98602"/>
          <ac:spMkLst>
            <pc:docMk/>
            <pc:sldMk cId="2165606813" sldId="263"/>
            <ac:spMk id="18" creationId="{A8F85821-B0E1-4D6A-B042-255A29A6B6C7}"/>
          </ac:spMkLst>
        </pc:spChg>
        <pc:spChg chg="add del mod">
          <ac:chgData name="Ugo MANTEL" userId="2d5b7065-31bb-4181-a7f8-a73bf0c30211" providerId="ADAL" clId="{287A013E-B4BE-485E-AE94-C2936752CD18}" dt="2020-09-30T13:32:25.144" v="98601"/>
          <ac:spMkLst>
            <pc:docMk/>
            <pc:sldMk cId="2165606813" sldId="263"/>
            <ac:spMk id="19" creationId="{F93FCD32-AC13-43F0-B8BC-5F212CA8E402}"/>
          </ac:spMkLst>
        </pc:spChg>
        <pc:spChg chg="add del mod">
          <ac:chgData name="Ugo MANTEL" userId="2d5b7065-31bb-4181-a7f8-a73bf0c30211" providerId="ADAL" clId="{287A013E-B4BE-485E-AE94-C2936752CD18}" dt="2020-09-30T13:32:25.144" v="98600"/>
          <ac:spMkLst>
            <pc:docMk/>
            <pc:sldMk cId="2165606813" sldId="263"/>
            <ac:spMk id="20" creationId="{2BC64C6E-6E8B-42CA-99FD-8D2FEA44C69C}"/>
          </ac:spMkLst>
        </pc:spChg>
        <pc:spChg chg="add del mod">
          <ac:chgData name="Ugo MANTEL" userId="2d5b7065-31bb-4181-a7f8-a73bf0c30211" providerId="ADAL" clId="{287A013E-B4BE-485E-AE94-C2936752CD18}" dt="2020-09-30T13:32:25.144" v="98599"/>
          <ac:spMkLst>
            <pc:docMk/>
            <pc:sldMk cId="2165606813" sldId="263"/>
            <ac:spMk id="21" creationId="{A1DD6589-4476-4419-9B05-A53F701AE25C}"/>
          </ac:spMkLst>
        </pc:spChg>
        <pc:spChg chg="add del mod">
          <ac:chgData name="Ugo MANTEL" userId="2d5b7065-31bb-4181-a7f8-a73bf0c30211" providerId="ADAL" clId="{287A013E-B4BE-485E-AE94-C2936752CD18}" dt="2020-09-30T13:32:25.143" v="98598"/>
          <ac:spMkLst>
            <pc:docMk/>
            <pc:sldMk cId="2165606813" sldId="263"/>
            <ac:spMk id="22" creationId="{2AA27967-1F74-4714-BADF-9A1C7A5E9E90}"/>
          </ac:spMkLst>
        </pc:spChg>
        <pc:spChg chg="add del mod">
          <ac:chgData name="Ugo MANTEL" userId="2d5b7065-31bb-4181-a7f8-a73bf0c30211" providerId="ADAL" clId="{287A013E-B4BE-485E-AE94-C2936752CD18}" dt="2020-09-30T13:32:25.143" v="98597"/>
          <ac:spMkLst>
            <pc:docMk/>
            <pc:sldMk cId="2165606813" sldId="263"/>
            <ac:spMk id="23" creationId="{CA7C11DF-6D25-40EB-AD94-D1B5F0CB829C}"/>
          </ac:spMkLst>
        </pc:spChg>
        <pc:spChg chg="add del mod">
          <ac:chgData name="Ugo MANTEL" userId="2d5b7065-31bb-4181-a7f8-a73bf0c30211" providerId="ADAL" clId="{287A013E-B4BE-485E-AE94-C2936752CD18}" dt="2020-09-30T13:32:25.143" v="98596"/>
          <ac:spMkLst>
            <pc:docMk/>
            <pc:sldMk cId="2165606813" sldId="263"/>
            <ac:spMk id="24" creationId="{8D901012-C680-4CC1-B2ED-9FFA0133E045}"/>
          </ac:spMkLst>
        </pc:spChg>
        <pc:spChg chg="add del mod">
          <ac:chgData name="Ugo MANTEL" userId="2d5b7065-31bb-4181-a7f8-a73bf0c30211" providerId="ADAL" clId="{287A013E-B4BE-485E-AE94-C2936752CD18}" dt="2020-09-30T13:32:25.142" v="98595"/>
          <ac:spMkLst>
            <pc:docMk/>
            <pc:sldMk cId="2165606813" sldId="263"/>
            <ac:spMk id="25" creationId="{190D1374-5C24-4075-A962-BBCA81F18754}"/>
          </ac:spMkLst>
        </pc:spChg>
        <pc:spChg chg="add del mod">
          <ac:chgData name="Ugo MANTEL" userId="2d5b7065-31bb-4181-a7f8-a73bf0c30211" providerId="ADAL" clId="{287A013E-B4BE-485E-AE94-C2936752CD18}" dt="2020-09-30T13:32:25.141" v="98594"/>
          <ac:spMkLst>
            <pc:docMk/>
            <pc:sldMk cId="2165606813" sldId="263"/>
            <ac:spMk id="26" creationId="{923BDDFF-B532-4174-8130-76B907827C04}"/>
          </ac:spMkLst>
        </pc:spChg>
        <pc:spChg chg="add del mod">
          <ac:chgData name="Ugo MANTEL" userId="2d5b7065-31bb-4181-a7f8-a73bf0c30211" providerId="ADAL" clId="{287A013E-B4BE-485E-AE94-C2936752CD18}" dt="2020-09-30T13:31:20.046" v="97374"/>
          <ac:spMkLst>
            <pc:docMk/>
            <pc:sldMk cId="2165606813" sldId="263"/>
            <ac:spMk id="28" creationId="{3C374B72-3298-4959-8D84-6E48D2B9547B}"/>
          </ac:spMkLst>
        </pc:spChg>
        <pc:spChg chg="add del mod">
          <ac:chgData name="Ugo MANTEL" userId="2d5b7065-31bb-4181-a7f8-a73bf0c30211" providerId="ADAL" clId="{287A013E-B4BE-485E-AE94-C2936752CD18}" dt="2020-09-30T13:31:20.047" v="97376"/>
          <ac:spMkLst>
            <pc:docMk/>
            <pc:sldMk cId="2165606813" sldId="263"/>
            <ac:spMk id="29" creationId="{125EF02A-FABB-4E8E-BA89-560A773E4F8F}"/>
          </ac:spMkLst>
        </pc:spChg>
        <pc:spChg chg="add del mod">
          <ac:chgData name="Ugo MANTEL" userId="2d5b7065-31bb-4181-a7f8-a73bf0c30211" providerId="ADAL" clId="{287A013E-B4BE-485E-AE94-C2936752CD18}" dt="2020-09-30T13:31:20.048" v="97378"/>
          <ac:spMkLst>
            <pc:docMk/>
            <pc:sldMk cId="2165606813" sldId="263"/>
            <ac:spMk id="30" creationId="{ECFB2A0F-3080-4B15-8F9B-253B7D1B2069}"/>
          </ac:spMkLst>
        </pc:spChg>
        <pc:spChg chg="add del mod">
          <ac:chgData name="Ugo MANTEL" userId="2d5b7065-31bb-4181-a7f8-a73bf0c30211" providerId="ADAL" clId="{287A013E-B4BE-485E-AE94-C2936752CD18}" dt="2020-09-30T13:31:20.049" v="97380"/>
          <ac:spMkLst>
            <pc:docMk/>
            <pc:sldMk cId="2165606813" sldId="263"/>
            <ac:spMk id="31" creationId="{74665CEC-FBE7-4084-9657-2DCFB4F5C93B}"/>
          </ac:spMkLst>
        </pc:spChg>
        <pc:spChg chg="add del mod">
          <ac:chgData name="Ugo MANTEL" userId="2d5b7065-31bb-4181-a7f8-a73bf0c30211" providerId="ADAL" clId="{287A013E-B4BE-485E-AE94-C2936752CD18}" dt="2020-09-30T13:31:20.050" v="97382"/>
          <ac:spMkLst>
            <pc:docMk/>
            <pc:sldMk cId="2165606813" sldId="263"/>
            <ac:spMk id="32" creationId="{BCDE56B5-2BA4-424F-860C-EA8F1A7EB425}"/>
          </ac:spMkLst>
        </pc:spChg>
        <pc:spChg chg="add del mod">
          <ac:chgData name="Ugo MANTEL" userId="2d5b7065-31bb-4181-a7f8-a73bf0c30211" providerId="ADAL" clId="{287A013E-B4BE-485E-AE94-C2936752CD18}" dt="2020-09-30T13:31:20.051" v="97384"/>
          <ac:spMkLst>
            <pc:docMk/>
            <pc:sldMk cId="2165606813" sldId="263"/>
            <ac:spMk id="33" creationId="{B7364999-F901-4280-B8F3-8E531C556B27}"/>
          </ac:spMkLst>
        </pc:spChg>
        <pc:spChg chg="add del mod">
          <ac:chgData name="Ugo MANTEL" userId="2d5b7065-31bb-4181-a7f8-a73bf0c30211" providerId="ADAL" clId="{287A013E-B4BE-485E-AE94-C2936752CD18}" dt="2020-09-30T13:31:20.052" v="97386"/>
          <ac:spMkLst>
            <pc:docMk/>
            <pc:sldMk cId="2165606813" sldId="263"/>
            <ac:spMk id="34" creationId="{A22E6656-9EA0-4504-A261-E133C0F62258}"/>
          </ac:spMkLst>
        </pc:spChg>
        <pc:spChg chg="add del mod">
          <ac:chgData name="Ugo MANTEL" userId="2d5b7065-31bb-4181-a7f8-a73bf0c30211" providerId="ADAL" clId="{287A013E-B4BE-485E-AE94-C2936752CD18}" dt="2020-09-30T13:31:20.054" v="97388"/>
          <ac:spMkLst>
            <pc:docMk/>
            <pc:sldMk cId="2165606813" sldId="263"/>
            <ac:spMk id="35" creationId="{D32B57E9-9A1D-43B8-A101-DB7FD9579F23}"/>
          </ac:spMkLst>
        </pc:spChg>
        <pc:spChg chg="add del mod">
          <ac:chgData name="Ugo MANTEL" userId="2d5b7065-31bb-4181-a7f8-a73bf0c30211" providerId="ADAL" clId="{287A013E-B4BE-485E-AE94-C2936752CD18}" dt="2020-09-30T13:31:20.055" v="97390"/>
          <ac:spMkLst>
            <pc:docMk/>
            <pc:sldMk cId="2165606813" sldId="263"/>
            <ac:spMk id="36" creationId="{CBBD1DC8-8686-4090-9712-7EEF3C18907F}"/>
          </ac:spMkLst>
        </pc:spChg>
        <pc:spChg chg="add del mod">
          <ac:chgData name="Ugo MANTEL" userId="2d5b7065-31bb-4181-a7f8-a73bf0c30211" providerId="ADAL" clId="{287A013E-B4BE-485E-AE94-C2936752CD18}" dt="2020-09-30T13:31:20.057" v="97392"/>
          <ac:spMkLst>
            <pc:docMk/>
            <pc:sldMk cId="2165606813" sldId="263"/>
            <ac:spMk id="37" creationId="{DA467BAA-A452-47AD-A30E-63B4730E5096}"/>
          </ac:spMkLst>
        </pc:spChg>
        <pc:spChg chg="add del mod">
          <ac:chgData name="Ugo MANTEL" userId="2d5b7065-31bb-4181-a7f8-a73bf0c30211" providerId="ADAL" clId="{287A013E-B4BE-485E-AE94-C2936752CD18}" dt="2020-09-30T13:31:20.058" v="97394"/>
          <ac:spMkLst>
            <pc:docMk/>
            <pc:sldMk cId="2165606813" sldId="263"/>
            <ac:spMk id="38" creationId="{48CF1286-F984-4981-81F9-99E3CF670EBE}"/>
          </ac:spMkLst>
        </pc:spChg>
        <pc:spChg chg="add del mod">
          <ac:chgData name="Ugo MANTEL" userId="2d5b7065-31bb-4181-a7f8-a73bf0c30211" providerId="ADAL" clId="{287A013E-B4BE-485E-AE94-C2936752CD18}" dt="2020-09-30T13:31:20.060" v="97396"/>
          <ac:spMkLst>
            <pc:docMk/>
            <pc:sldMk cId="2165606813" sldId="263"/>
            <ac:spMk id="39" creationId="{369F9939-D47E-4C42-B73B-3CC74BDF4711}"/>
          </ac:spMkLst>
        </pc:spChg>
        <pc:spChg chg="add del mod">
          <ac:chgData name="Ugo MANTEL" userId="2d5b7065-31bb-4181-a7f8-a73bf0c30211" providerId="ADAL" clId="{287A013E-B4BE-485E-AE94-C2936752CD18}" dt="2020-09-30T13:31:20.061" v="97398"/>
          <ac:spMkLst>
            <pc:docMk/>
            <pc:sldMk cId="2165606813" sldId="263"/>
            <ac:spMk id="40" creationId="{77ABFEF3-962F-4030-B227-889C82FA1BA6}"/>
          </ac:spMkLst>
        </pc:spChg>
        <pc:spChg chg="add del mod">
          <ac:chgData name="Ugo MANTEL" userId="2d5b7065-31bb-4181-a7f8-a73bf0c30211" providerId="ADAL" clId="{287A013E-B4BE-485E-AE94-C2936752CD18}" dt="2020-09-30T13:31:20.062" v="97400"/>
          <ac:spMkLst>
            <pc:docMk/>
            <pc:sldMk cId="2165606813" sldId="263"/>
            <ac:spMk id="41" creationId="{2B7F04E0-1EF4-4831-9D33-50CFC6E6FDB6}"/>
          </ac:spMkLst>
        </pc:spChg>
        <pc:spChg chg="add del mod">
          <ac:chgData name="Ugo MANTEL" userId="2d5b7065-31bb-4181-a7f8-a73bf0c30211" providerId="ADAL" clId="{287A013E-B4BE-485E-AE94-C2936752CD18}" dt="2020-09-30T13:31:20.063" v="97402"/>
          <ac:spMkLst>
            <pc:docMk/>
            <pc:sldMk cId="2165606813" sldId="263"/>
            <ac:spMk id="42" creationId="{8491E1F3-741D-4665-9E26-C22803D6A266}"/>
          </ac:spMkLst>
        </pc:spChg>
        <pc:spChg chg="add del mod">
          <ac:chgData name="Ugo MANTEL" userId="2d5b7065-31bb-4181-a7f8-a73bf0c30211" providerId="ADAL" clId="{287A013E-B4BE-485E-AE94-C2936752CD18}" dt="2020-09-30T13:31:20.064" v="97404"/>
          <ac:spMkLst>
            <pc:docMk/>
            <pc:sldMk cId="2165606813" sldId="263"/>
            <ac:spMk id="43" creationId="{65529D82-3803-4D58-B820-BEB85B543B6C}"/>
          </ac:spMkLst>
        </pc:spChg>
        <pc:spChg chg="add del mod">
          <ac:chgData name="Ugo MANTEL" userId="2d5b7065-31bb-4181-a7f8-a73bf0c30211" providerId="ADAL" clId="{287A013E-B4BE-485E-AE94-C2936752CD18}" dt="2020-09-30T13:31:20.045" v="97373"/>
          <ac:spMkLst>
            <pc:docMk/>
            <pc:sldMk cId="2165606813" sldId="263"/>
            <ac:spMk id="62" creationId="{C9B6CF96-CDA1-4363-834B-D7B4C5BB570F}"/>
          </ac:spMkLst>
        </pc:spChg>
        <pc:spChg chg="add del mod">
          <ac:chgData name="Ugo MANTEL" userId="2d5b7065-31bb-4181-a7f8-a73bf0c30211" providerId="ADAL" clId="{287A013E-B4BE-485E-AE94-C2936752CD18}" dt="2020-09-30T13:31:20.047" v="97375"/>
          <ac:spMkLst>
            <pc:docMk/>
            <pc:sldMk cId="2165606813" sldId="263"/>
            <ac:spMk id="63" creationId="{5CCEE235-B947-4432-974A-D82BDDF06ECC}"/>
          </ac:spMkLst>
        </pc:spChg>
        <pc:spChg chg="add del mod">
          <ac:chgData name="Ugo MANTEL" userId="2d5b7065-31bb-4181-a7f8-a73bf0c30211" providerId="ADAL" clId="{287A013E-B4BE-485E-AE94-C2936752CD18}" dt="2020-09-30T13:31:20.048" v="97377"/>
          <ac:spMkLst>
            <pc:docMk/>
            <pc:sldMk cId="2165606813" sldId="263"/>
            <ac:spMk id="64" creationId="{D7BA5694-E47D-4C0B-9CAA-FDA5362036F0}"/>
          </ac:spMkLst>
        </pc:spChg>
        <pc:spChg chg="add del mod">
          <ac:chgData name="Ugo MANTEL" userId="2d5b7065-31bb-4181-a7f8-a73bf0c30211" providerId="ADAL" clId="{287A013E-B4BE-485E-AE94-C2936752CD18}" dt="2020-09-30T13:31:20.049" v="97379"/>
          <ac:spMkLst>
            <pc:docMk/>
            <pc:sldMk cId="2165606813" sldId="263"/>
            <ac:spMk id="65" creationId="{88D933BC-A239-4089-925E-294A4C76AC70}"/>
          </ac:spMkLst>
        </pc:spChg>
        <pc:spChg chg="add del mod">
          <ac:chgData name="Ugo MANTEL" userId="2d5b7065-31bb-4181-a7f8-a73bf0c30211" providerId="ADAL" clId="{287A013E-B4BE-485E-AE94-C2936752CD18}" dt="2020-09-30T13:31:20.050" v="97381"/>
          <ac:spMkLst>
            <pc:docMk/>
            <pc:sldMk cId="2165606813" sldId="263"/>
            <ac:spMk id="66" creationId="{FBD70322-8BA3-4403-86C9-753C462F4C64}"/>
          </ac:spMkLst>
        </pc:spChg>
        <pc:spChg chg="add del mod">
          <ac:chgData name="Ugo MANTEL" userId="2d5b7065-31bb-4181-a7f8-a73bf0c30211" providerId="ADAL" clId="{287A013E-B4BE-485E-AE94-C2936752CD18}" dt="2020-09-30T13:31:20.051" v="97383"/>
          <ac:spMkLst>
            <pc:docMk/>
            <pc:sldMk cId="2165606813" sldId="263"/>
            <ac:spMk id="67" creationId="{55776AA6-C390-489A-A9B8-69A61E450D74}"/>
          </ac:spMkLst>
        </pc:spChg>
        <pc:spChg chg="add del mod">
          <ac:chgData name="Ugo MANTEL" userId="2d5b7065-31bb-4181-a7f8-a73bf0c30211" providerId="ADAL" clId="{287A013E-B4BE-485E-AE94-C2936752CD18}" dt="2020-09-30T13:31:20.052" v="97385"/>
          <ac:spMkLst>
            <pc:docMk/>
            <pc:sldMk cId="2165606813" sldId="263"/>
            <ac:spMk id="68" creationId="{20B8462B-35E8-4C3E-9D0C-204FD48B946F}"/>
          </ac:spMkLst>
        </pc:spChg>
        <pc:spChg chg="add del mod">
          <ac:chgData name="Ugo MANTEL" userId="2d5b7065-31bb-4181-a7f8-a73bf0c30211" providerId="ADAL" clId="{287A013E-B4BE-485E-AE94-C2936752CD18}" dt="2020-09-30T13:31:20.053" v="97387"/>
          <ac:spMkLst>
            <pc:docMk/>
            <pc:sldMk cId="2165606813" sldId="263"/>
            <ac:spMk id="69" creationId="{D8F95AA2-390C-4BEB-A85D-1CCBBB29E3D6}"/>
          </ac:spMkLst>
        </pc:spChg>
        <pc:spChg chg="add del mod">
          <ac:chgData name="Ugo MANTEL" userId="2d5b7065-31bb-4181-a7f8-a73bf0c30211" providerId="ADAL" clId="{287A013E-B4BE-485E-AE94-C2936752CD18}" dt="2020-09-30T13:31:20.054" v="97389"/>
          <ac:spMkLst>
            <pc:docMk/>
            <pc:sldMk cId="2165606813" sldId="263"/>
            <ac:spMk id="70" creationId="{347BB9EF-7BF6-4FBD-87F7-9F44F76CD2BB}"/>
          </ac:spMkLst>
        </pc:spChg>
        <pc:spChg chg="add del mod">
          <ac:chgData name="Ugo MANTEL" userId="2d5b7065-31bb-4181-a7f8-a73bf0c30211" providerId="ADAL" clId="{287A013E-B4BE-485E-AE94-C2936752CD18}" dt="2020-09-30T13:31:20.056" v="97391"/>
          <ac:spMkLst>
            <pc:docMk/>
            <pc:sldMk cId="2165606813" sldId="263"/>
            <ac:spMk id="71" creationId="{D67C0A4A-C3AC-4D00-BB61-6A16DD5CE127}"/>
          </ac:spMkLst>
        </pc:spChg>
        <pc:spChg chg="add del mod">
          <ac:chgData name="Ugo MANTEL" userId="2d5b7065-31bb-4181-a7f8-a73bf0c30211" providerId="ADAL" clId="{287A013E-B4BE-485E-AE94-C2936752CD18}" dt="2020-09-30T13:31:20.057" v="97393"/>
          <ac:spMkLst>
            <pc:docMk/>
            <pc:sldMk cId="2165606813" sldId="263"/>
            <ac:spMk id="72" creationId="{C154C318-820A-41F3-A399-0F9745355B74}"/>
          </ac:spMkLst>
        </pc:spChg>
        <pc:spChg chg="add del mod">
          <ac:chgData name="Ugo MANTEL" userId="2d5b7065-31bb-4181-a7f8-a73bf0c30211" providerId="ADAL" clId="{287A013E-B4BE-485E-AE94-C2936752CD18}" dt="2020-09-30T13:31:20.059" v="97395"/>
          <ac:spMkLst>
            <pc:docMk/>
            <pc:sldMk cId="2165606813" sldId="263"/>
            <ac:spMk id="73" creationId="{C401B5A7-C361-416E-A07E-0E2666E71835}"/>
          </ac:spMkLst>
        </pc:spChg>
        <pc:spChg chg="add del mod">
          <ac:chgData name="Ugo MANTEL" userId="2d5b7065-31bb-4181-a7f8-a73bf0c30211" providerId="ADAL" clId="{287A013E-B4BE-485E-AE94-C2936752CD18}" dt="2020-09-30T13:31:20.061" v="97397"/>
          <ac:spMkLst>
            <pc:docMk/>
            <pc:sldMk cId="2165606813" sldId="263"/>
            <ac:spMk id="74" creationId="{1C542BF6-1EF6-4C88-8164-FE9DA3E79087}"/>
          </ac:spMkLst>
        </pc:spChg>
        <pc:spChg chg="add del mod">
          <ac:chgData name="Ugo MANTEL" userId="2d5b7065-31bb-4181-a7f8-a73bf0c30211" providerId="ADAL" clId="{287A013E-B4BE-485E-AE94-C2936752CD18}" dt="2020-09-30T13:31:20.062" v="97399"/>
          <ac:spMkLst>
            <pc:docMk/>
            <pc:sldMk cId="2165606813" sldId="263"/>
            <ac:spMk id="75" creationId="{C8BF8B98-89FE-462F-9B42-CE91D2578316}"/>
          </ac:spMkLst>
        </pc:spChg>
        <pc:spChg chg="add del mod">
          <ac:chgData name="Ugo MANTEL" userId="2d5b7065-31bb-4181-a7f8-a73bf0c30211" providerId="ADAL" clId="{287A013E-B4BE-485E-AE94-C2936752CD18}" dt="2020-09-30T13:31:20.063" v="97401"/>
          <ac:spMkLst>
            <pc:docMk/>
            <pc:sldMk cId="2165606813" sldId="263"/>
            <ac:spMk id="76" creationId="{BF19EEF3-CA2C-4E18-8465-D49AD5B9B05C}"/>
          </ac:spMkLst>
        </pc:spChg>
        <pc:spChg chg="add del mod">
          <ac:chgData name="Ugo MANTEL" userId="2d5b7065-31bb-4181-a7f8-a73bf0c30211" providerId="ADAL" clId="{287A013E-B4BE-485E-AE94-C2936752CD18}" dt="2020-09-30T13:31:20.064" v="97403"/>
          <ac:spMkLst>
            <pc:docMk/>
            <pc:sldMk cId="2165606813" sldId="263"/>
            <ac:spMk id="77" creationId="{19765AD8-08BF-48C9-A8F1-8B98754521CC}"/>
          </ac:spMkLst>
        </pc:spChg>
        <pc:spChg chg="add mod">
          <ac:chgData name="Ugo MANTEL" userId="2d5b7065-31bb-4181-a7f8-a73bf0c30211" providerId="ADAL" clId="{287A013E-B4BE-485E-AE94-C2936752CD18}" dt="2020-09-30T13:32:59.969" v="101270"/>
          <ac:spMkLst>
            <pc:docMk/>
            <pc:sldMk cId="2165606813" sldId="263"/>
            <ac:spMk id="78" creationId="{5CCBC33B-8CBC-476F-A50A-BE06F84598BF}"/>
          </ac:spMkLst>
        </pc:spChg>
        <pc:spChg chg="add mod">
          <ac:chgData name="Ugo MANTEL" userId="2d5b7065-31bb-4181-a7f8-a73bf0c30211" providerId="ADAL" clId="{287A013E-B4BE-485E-AE94-C2936752CD18}" dt="2020-09-30T13:32:59.970" v="101271"/>
          <ac:spMkLst>
            <pc:docMk/>
            <pc:sldMk cId="2165606813" sldId="263"/>
            <ac:spMk id="79" creationId="{E973BA82-787F-43A9-AFE7-3826EFFB5F59}"/>
          </ac:spMkLst>
        </pc:spChg>
        <pc:spChg chg="add mod">
          <ac:chgData name="Ugo MANTEL" userId="2d5b7065-31bb-4181-a7f8-a73bf0c30211" providerId="ADAL" clId="{287A013E-B4BE-485E-AE94-C2936752CD18}" dt="2020-09-30T13:32:59.970" v="101272"/>
          <ac:spMkLst>
            <pc:docMk/>
            <pc:sldMk cId="2165606813" sldId="263"/>
            <ac:spMk id="80" creationId="{56056B32-2826-44D9-B2B9-08F42245EB81}"/>
          </ac:spMkLst>
        </pc:spChg>
        <pc:spChg chg="add mod">
          <ac:chgData name="Ugo MANTEL" userId="2d5b7065-31bb-4181-a7f8-a73bf0c30211" providerId="ADAL" clId="{287A013E-B4BE-485E-AE94-C2936752CD18}" dt="2020-09-30T13:32:59.970" v="101273"/>
          <ac:spMkLst>
            <pc:docMk/>
            <pc:sldMk cId="2165606813" sldId="263"/>
            <ac:spMk id="81" creationId="{81392EA0-ED13-485A-BC26-EC5C1C696E87}"/>
          </ac:spMkLst>
        </pc:spChg>
        <pc:spChg chg="add mod">
          <ac:chgData name="Ugo MANTEL" userId="2d5b7065-31bb-4181-a7f8-a73bf0c30211" providerId="ADAL" clId="{287A013E-B4BE-485E-AE94-C2936752CD18}" dt="2020-09-30T13:32:59.971" v="101274"/>
          <ac:spMkLst>
            <pc:docMk/>
            <pc:sldMk cId="2165606813" sldId="263"/>
            <ac:spMk id="82" creationId="{60283F2E-E6E2-4A7E-8C2C-BA6C07F69C65}"/>
          </ac:spMkLst>
        </pc:spChg>
        <pc:spChg chg="add mod">
          <ac:chgData name="Ugo MANTEL" userId="2d5b7065-31bb-4181-a7f8-a73bf0c30211" providerId="ADAL" clId="{287A013E-B4BE-485E-AE94-C2936752CD18}" dt="2020-09-30T13:32:59.971" v="101275"/>
          <ac:spMkLst>
            <pc:docMk/>
            <pc:sldMk cId="2165606813" sldId="263"/>
            <ac:spMk id="83" creationId="{4D727D06-2497-412B-B698-FDEE7E68E134}"/>
          </ac:spMkLst>
        </pc:spChg>
        <pc:spChg chg="add del mod">
          <ac:chgData name="Ugo MANTEL" userId="2d5b7065-31bb-4181-a7f8-a73bf0c30211" providerId="ADAL" clId="{287A013E-B4BE-485E-AE94-C2936752CD18}" dt="2020-09-30T13:31:36.694" v="97744"/>
          <ac:spMkLst>
            <pc:docMk/>
            <pc:sldMk cId="2165606813" sldId="263"/>
            <ac:spMk id="84" creationId="{E6CB6D11-F9C5-48CC-A5D3-24F14D8AA600}"/>
          </ac:spMkLst>
        </pc:spChg>
        <pc:spChg chg="add del mod">
          <ac:chgData name="Ugo MANTEL" userId="2d5b7065-31bb-4181-a7f8-a73bf0c30211" providerId="ADAL" clId="{287A013E-B4BE-485E-AE94-C2936752CD18}" dt="2020-09-30T13:31:36.695" v="97745"/>
          <ac:spMkLst>
            <pc:docMk/>
            <pc:sldMk cId="2165606813" sldId="263"/>
            <ac:spMk id="85" creationId="{B087CEE6-FA6E-49B6-915E-68E5D34A02AA}"/>
          </ac:spMkLst>
        </pc:spChg>
        <pc:spChg chg="add del mod">
          <ac:chgData name="Ugo MANTEL" userId="2d5b7065-31bb-4181-a7f8-a73bf0c30211" providerId="ADAL" clId="{287A013E-B4BE-485E-AE94-C2936752CD18}" dt="2020-09-30T13:31:36.695" v="97746"/>
          <ac:spMkLst>
            <pc:docMk/>
            <pc:sldMk cId="2165606813" sldId="263"/>
            <ac:spMk id="86" creationId="{7818FEA1-4866-4094-860A-D5775C5C491C}"/>
          </ac:spMkLst>
        </pc:spChg>
        <pc:spChg chg="add del mod">
          <ac:chgData name="Ugo MANTEL" userId="2d5b7065-31bb-4181-a7f8-a73bf0c30211" providerId="ADAL" clId="{287A013E-B4BE-485E-AE94-C2936752CD18}" dt="2020-09-30T13:31:36.696" v="97747"/>
          <ac:spMkLst>
            <pc:docMk/>
            <pc:sldMk cId="2165606813" sldId="263"/>
            <ac:spMk id="87" creationId="{ED81A15A-81BD-4AFE-AF48-F8439B680B45}"/>
          </ac:spMkLst>
        </pc:spChg>
        <pc:spChg chg="add del mod">
          <ac:chgData name="Ugo MANTEL" userId="2d5b7065-31bb-4181-a7f8-a73bf0c30211" providerId="ADAL" clId="{287A013E-B4BE-485E-AE94-C2936752CD18}" dt="2020-09-30T13:31:36.696" v="97748"/>
          <ac:spMkLst>
            <pc:docMk/>
            <pc:sldMk cId="2165606813" sldId="263"/>
            <ac:spMk id="88" creationId="{FBA87F9B-993B-4AAB-A2E8-81859C1AD193}"/>
          </ac:spMkLst>
        </pc:spChg>
        <pc:spChg chg="add del mod">
          <ac:chgData name="Ugo MANTEL" userId="2d5b7065-31bb-4181-a7f8-a73bf0c30211" providerId="ADAL" clId="{287A013E-B4BE-485E-AE94-C2936752CD18}" dt="2020-09-30T13:31:36.697" v="97749"/>
          <ac:spMkLst>
            <pc:docMk/>
            <pc:sldMk cId="2165606813" sldId="263"/>
            <ac:spMk id="89" creationId="{B7153F01-F192-4858-AE06-0A1B20F41AEE}"/>
          </ac:spMkLst>
        </pc:spChg>
        <pc:spChg chg="add del mod">
          <ac:chgData name="Ugo MANTEL" userId="2d5b7065-31bb-4181-a7f8-a73bf0c30211" providerId="ADAL" clId="{287A013E-B4BE-485E-AE94-C2936752CD18}" dt="2020-09-30T13:31:36.697" v="97750"/>
          <ac:spMkLst>
            <pc:docMk/>
            <pc:sldMk cId="2165606813" sldId="263"/>
            <ac:spMk id="90" creationId="{2726D085-24FA-427F-9E5B-6209D1D0CA20}"/>
          </ac:spMkLst>
        </pc:spChg>
        <pc:spChg chg="add del mod ord">
          <ac:chgData name="Ugo MANTEL" userId="2d5b7065-31bb-4181-a7f8-a73bf0c30211" providerId="ADAL" clId="{287A013E-B4BE-485E-AE94-C2936752CD18}" dt="2020-09-30T13:31:20.259" v="97468"/>
          <ac:spMkLst>
            <pc:docMk/>
            <pc:sldMk cId="2165606813" sldId="263"/>
            <ac:spMk id="91" creationId="{0CC7EB11-E318-4814-BA91-3D26D2BFA284}"/>
          </ac:spMkLst>
        </pc:spChg>
        <pc:spChg chg="add del mod ord">
          <ac:chgData name="Ugo MANTEL" userId="2d5b7065-31bb-4181-a7f8-a73bf0c30211" providerId="ADAL" clId="{287A013E-B4BE-485E-AE94-C2936752CD18}" dt="2020-09-30T13:31:13.400" v="97007"/>
          <ac:spMkLst>
            <pc:docMk/>
            <pc:sldMk cId="2165606813" sldId="263"/>
            <ac:spMk id="92" creationId="{B2D24823-1C73-4601-805D-76DC2028A8E0}"/>
          </ac:spMkLst>
        </pc:spChg>
        <pc:spChg chg="add del mod">
          <ac:chgData name="Ugo MANTEL" userId="2d5b7065-31bb-4181-a7f8-a73bf0c30211" providerId="ADAL" clId="{287A013E-B4BE-485E-AE94-C2936752CD18}" dt="2020-09-30T13:31:13.448" v="97055"/>
          <ac:spMkLst>
            <pc:docMk/>
            <pc:sldMk cId="2165606813" sldId="263"/>
            <ac:spMk id="104" creationId="{4F354D30-C14E-4C11-B926-650B70E037DE}"/>
          </ac:spMkLst>
        </pc:spChg>
        <pc:spChg chg="add del mod">
          <ac:chgData name="Ugo MANTEL" userId="2d5b7065-31bb-4181-a7f8-a73bf0c30211" providerId="ADAL" clId="{287A013E-B4BE-485E-AE94-C2936752CD18}" dt="2020-09-30T13:31:13.453" v="97057"/>
          <ac:spMkLst>
            <pc:docMk/>
            <pc:sldMk cId="2165606813" sldId="263"/>
            <ac:spMk id="105" creationId="{E360D6D5-4BA1-40B6-8F60-36E0C663C2EE}"/>
          </ac:spMkLst>
        </pc:spChg>
        <pc:spChg chg="add del mod">
          <ac:chgData name="Ugo MANTEL" userId="2d5b7065-31bb-4181-a7f8-a73bf0c30211" providerId="ADAL" clId="{287A013E-B4BE-485E-AE94-C2936752CD18}" dt="2020-09-30T13:31:13.456" v="97059"/>
          <ac:spMkLst>
            <pc:docMk/>
            <pc:sldMk cId="2165606813" sldId="263"/>
            <ac:spMk id="106" creationId="{EFB080FF-527F-4B0D-A55D-28266F1DB046}"/>
          </ac:spMkLst>
        </pc:spChg>
        <pc:spChg chg="add del mod">
          <ac:chgData name="Ugo MANTEL" userId="2d5b7065-31bb-4181-a7f8-a73bf0c30211" providerId="ADAL" clId="{287A013E-B4BE-485E-AE94-C2936752CD18}" dt="2020-09-30T13:31:13.460" v="97061"/>
          <ac:spMkLst>
            <pc:docMk/>
            <pc:sldMk cId="2165606813" sldId="263"/>
            <ac:spMk id="107" creationId="{19AB5928-4899-461B-A75E-837A84454A56}"/>
          </ac:spMkLst>
        </pc:spChg>
        <pc:spChg chg="add del mod">
          <ac:chgData name="Ugo MANTEL" userId="2d5b7065-31bb-4181-a7f8-a73bf0c30211" providerId="ADAL" clId="{287A013E-B4BE-485E-AE94-C2936752CD18}" dt="2020-09-30T13:31:13.465" v="97063"/>
          <ac:spMkLst>
            <pc:docMk/>
            <pc:sldMk cId="2165606813" sldId="263"/>
            <ac:spMk id="108" creationId="{2379E923-ED33-433E-AB94-E21E3F8D8185}"/>
          </ac:spMkLst>
        </pc:spChg>
        <pc:spChg chg="add del mod">
          <ac:chgData name="Ugo MANTEL" userId="2d5b7065-31bb-4181-a7f8-a73bf0c30211" providerId="ADAL" clId="{287A013E-B4BE-485E-AE94-C2936752CD18}" dt="2020-09-30T13:31:13.469" v="97065"/>
          <ac:spMkLst>
            <pc:docMk/>
            <pc:sldMk cId="2165606813" sldId="263"/>
            <ac:spMk id="109" creationId="{231DE87B-A9C8-45EA-AC26-1C0751AA59D8}"/>
          </ac:spMkLst>
        </pc:spChg>
        <pc:spChg chg="add del mod ord">
          <ac:chgData name="Ugo MANTEL" userId="2d5b7065-31bb-4181-a7f8-a73bf0c30211" providerId="ADAL" clId="{287A013E-B4BE-485E-AE94-C2936752CD18}" dt="2020-09-30T13:31:20.255" v="97464"/>
          <ac:spMkLst>
            <pc:docMk/>
            <pc:sldMk cId="2165606813" sldId="263"/>
            <ac:spMk id="110" creationId="{95C745A7-2801-47EC-9289-7C28965AB9E7}"/>
          </ac:spMkLst>
        </pc:spChg>
        <pc:spChg chg="add del mod">
          <ac:chgData name="Ugo MANTEL" userId="2d5b7065-31bb-4181-a7f8-a73bf0c30211" providerId="ADAL" clId="{287A013E-B4BE-485E-AE94-C2936752CD18}" dt="2020-09-30T13:32:12.146" v="98547"/>
          <ac:spMkLst>
            <pc:docMk/>
            <pc:sldMk cId="2165606813" sldId="263"/>
            <ac:spMk id="124" creationId="{D09D2F5B-07BF-48B2-8F16-EB621D0B6812}"/>
          </ac:spMkLst>
        </pc:spChg>
        <pc:spChg chg="add del mod">
          <ac:chgData name="Ugo MANTEL" userId="2d5b7065-31bb-4181-a7f8-a73bf0c30211" providerId="ADAL" clId="{287A013E-B4BE-485E-AE94-C2936752CD18}" dt="2020-09-30T13:32:12.146" v="98548"/>
          <ac:spMkLst>
            <pc:docMk/>
            <pc:sldMk cId="2165606813" sldId="263"/>
            <ac:spMk id="125" creationId="{E53762B6-E61E-4F8B-9BF1-F6C8B76F7856}"/>
          </ac:spMkLst>
        </pc:spChg>
        <pc:spChg chg="add del mod">
          <ac:chgData name="Ugo MANTEL" userId="2d5b7065-31bb-4181-a7f8-a73bf0c30211" providerId="ADAL" clId="{287A013E-B4BE-485E-AE94-C2936752CD18}" dt="2020-09-30T13:32:12.147" v="98549"/>
          <ac:spMkLst>
            <pc:docMk/>
            <pc:sldMk cId="2165606813" sldId="263"/>
            <ac:spMk id="126" creationId="{B57A6CC3-4309-4582-89C2-4BE9AA9160E1}"/>
          </ac:spMkLst>
        </pc:spChg>
        <pc:spChg chg="add del mod">
          <ac:chgData name="Ugo MANTEL" userId="2d5b7065-31bb-4181-a7f8-a73bf0c30211" providerId="ADAL" clId="{287A013E-B4BE-485E-AE94-C2936752CD18}" dt="2020-09-30T13:32:12.147" v="98550"/>
          <ac:spMkLst>
            <pc:docMk/>
            <pc:sldMk cId="2165606813" sldId="263"/>
            <ac:spMk id="127" creationId="{A3790E86-FE79-43AC-BE47-3161E2535E29}"/>
          </ac:spMkLst>
        </pc:spChg>
        <pc:spChg chg="add del mod">
          <ac:chgData name="Ugo MANTEL" userId="2d5b7065-31bb-4181-a7f8-a73bf0c30211" providerId="ADAL" clId="{287A013E-B4BE-485E-AE94-C2936752CD18}" dt="2020-09-30T13:32:12.148" v="98551"/>
          <ac:spMkLst>
            <pc:docMk/>
            <pc:sldMk cId="2165606813" sldId="263"/>
            <ac:spMk id="128" creationId="{1EF2379B-AC20-4A63-9D1D-73ED7FDB3E01}"/>
          </ac:spMkLst>
        </pc:spChg>
        <pc:spChg chg="add del mod">
          <ac:chgData name="Ugo MANTEL" userId="2d5b7065-31bb-4181-a7f8-a73bf0c30211" providerId="ADAL" clId="{287A013E-B4BE-485E-AE94-C2936752CD18}" dt="2020-09-30T13:32:32.044" v="100126"/>
          <ac:spMkLst>
            <pc:docMk/>
            <pc:sldMk cId="2165606813" sldId="263"/>
            <ac:spMk id="131" creationId="{CF57B02D-CB99-493E-ADB0-06D91B08C7BB}"/>
          </ac:spMkLst>
        </pc:spChg>
        <pc:spChg chg="add del mod">
          <ac:chgData name="Ugo MANTEL" userId="2d5b7065-31bb-4181-a7f8-a73bf0c30211" providerId="ADAL" clId="{287A013E-B4BE-485E-AE94-C2936752CD18}" dt="2020-09-30T13:32:30.809" v="99463"/>
          <ac:spMkLst>
            <pc:docMk/>
            <pc:sldMk cId="2165606813" sldId="263"/>
            <ac:spMk id="132" creationId="{F3B90963-D672-48ED-B1FE-EC659D1EADE7}"/>
          </ac:spMkLst>
        </pc:spChg>
        <pc:spChg chg="add del mod">
          <ac:chgData name="Ugo MANTEL" userId="2d5b7065-31bb-4181-a7f8-a73bf0c30211" providerId="ADAL" clId="{287A013E-B4BE-485E-AE94-C2936752CD18}" dt="2020-09-30T13:32:30.809" v="99462"/>
          <ac:spMkLst>
            <pc:docMk/>
            <pc:sldMk cId="2165606813" sldId="263"/>
            <ac:spMk id="133" creationId="{DF9BA0D3-D7EF-4265-B112-910F3BE166BA}"/>
          </ac:spMkLst>
        </pc:spChg>
        <pc:spChg chg="add del mod">
          <ac:chgData name="Ugo MANTEL" userId="2d5b7065-31bb-4181-a7f8-a73bf0c30211" providerId="ADAL" clId="{287A013E-B4BE-485E-AE94-C2936752CD18}" dt="2020-09-30T13:32:30.809" v="99461"/>
          <ac:spMkLst>
            <pc:docMk/>
            <pc:sldMk cId="2165606813" sldId="263"/>
            <ac:spMk id="134" creationId="{902CAE41-B01D-4414-A3BE-57B260BE4411}"/>
          </ac:spMkLst>
        </pc:spChg>
        <pc:spChg chg="add del mod">
          <ac:chgData name="Ugo MANTEL" userId="2d5b7065-31bb-4181-a7f8-a73bf0c30211" providerId="ADAL" clId="{287A013E-B4BE-485E-AE94-C2936752CD18}" dt="2020-09-30T13:32:30.809" v="99460"/>
          <ac:spMkLst>
            <pc:docMk/>
            <pc:sldMk cId="2165606813" sldId="263"/>
            <ac:spMk id="135" creationId="{A95B9C40-E00E-475A-857F-1387F181F11E}"/>
          </ac:spMkLst>
        </pc:spChg>
        <pc:spChg chg="add del mod">
          <ac:chgData name="Ugo MANTEL" userId="2d5b7065-31bb-4181-a7f8-a73bf0c30211" providerId="ADAL" clId="{287A013E-B4BE-485E-AE94-C2936752CD18}" dt="2020-09-30T13:32:30.808" v="99459"/>
          <ac:spMkLst>
            <pc:docMk/>
            <pc:sldMk cId="2165606813" sldId="263"/>
            <ac:spMk id="136" creationId="{B45379AB-5992-4D00-9541-486A66A593BE}"/>
          </ac:spMkLst>
        </pc:spChg>
        <pc:spChg chg="add del mod">
          <ac:chgData name="Ugo MANTEL" userId="2d5b7065-31bb-4181-a7f8-a73bf0c30211" providerId="ADAL" clId="{287A013E-B4BE-485E-AE94-C2936752CD18}" dt="2020-09-30T13:32:30.808" v="99458"/>
          <ac:spMkLst>
            <pc:docMk/>
            <pc:sldMk cId="2165606813" sldId="263"/>
            <ac:spMk id="137" creationId="{1BB2385D-97E0-41E9-B60B-22364BF62331}"/>
          </ac:spMkLst>
        </pc:spChg>
        <pc:spChg chg="add del mod">
          <ac:chgData name="Ugo MANTEL" userId="2d5b7065-31bb-4181-a7f8-a73bf0c30211" providerId="ADAL" clId="{287A013E-B4BE-485E-AE94-C2936752CD18}" dt="2020-09-30T13:32:30.808" v="99457"/>
          <ac:spMkLst>
            <pc:docMk/>
            <pc:sldMk cId="2165606813" sldId="263"/>
            <ac:spMk id="138" creationId="{F9F37859-4261-41DE-AA34-0163AD8445BF}"/>
          </ac:spMkLst>
        </pc:spChg>
        <pc:spChg chg="add del mod">
          <ac:chgData name="Ugo MANTEL" userId="2d5b7065-31bb-4181-a7f8-a73bf0c30211" providerId="ADAL" clId="{287A013E-B4BE-485E-AE94-C2936752CD18}" dt="2020-09-30T13:32:30.807" v="99456"/>
          <ac:spMkLst>
            <pc:docMk/>
            <pc:sldMk cId="2165606813" sldId="263"/>
            <ac:spMk id="139" creationId="{5EA2F3AC-8713-4233-B544-A2B4218CD2CF}"/>
          </ac:spMkLst>
        </pc:spChg>
        <pc:spChg chg="add del mod">
          <ac:chgData name="Ugo MANTEL" userId="2d5b7065-31bb-4181-a7f8-a73bf0c30211" providerId="ADAL" clId="{287A013E-B4BE-485E-AE94-C2936752CD18}" dt="2020-09-30T13:32:30.807" v="99455"/>
          <ac:spMkLst>
            <pc:docMk/>
            <pc:sldMk cId="2165606813" sldId="263"/>
            <ac:spMk id="140" creationId="{806EA860-B42D-4510-BD2C-FDFD5A260AAA}"/>
          </ac:spMkLst>
        </pc:spChg>
        <pc:spChg chg="add del mod">
          <ac:chgData name="Ugo MANTEL" userId="2d5b7065-31bb-4181-a7f8-a73bf0c30211" providerId="ADAL" clId="{287A013E-B4BE-485E-AE94-C2936752CD18}" dt="2020-09-30T13:32:30.806" v="99454"/>
          <ac:spMkLst>
            <pc:docMk/>
            <pc:sldMk cId="2165606813" sldId="263"/>
            <ac:spMk id="141" creationId="{50779265-0358-44AB-BD4B-396B17EF5E41}"/>
          </ac:spMkLst>
        </pc:spChg>
        <pc:spChg chg="add del mod">
          <ac:chgData name="Ugo MANTEL" userId="2d5b7065-31bb-4181-a7f8-a73bf0c30211" providerId="ADAL" clId="{287A013E-B4BE-485E-AE94-C2936752CD18}" dt="2020-09-30T13:32:52.102" v="100994"/>
          <ac:spMkLst>
            <pc:docMk/>
            <pc:sldMk cId="2165606813" sldId="263"/>
            <ac:spMk id="143" creationId="{CBC31DE6-20B5-49BC-BDBE-1B5F2C79A735}"/>
          </ac:spMkLst>
        </pc:spChg>
        <pc:spChg chg="add del mod">
          <ac:chgData name="Ugo MANTEL" userId="2d5b7065-31bb-4181-a7f8-a73bf0c30211" providerId="ADAL" clId="{287A013E-B4BE-485E-AE94-C2936752CD18}" dt="2020-09-30T13:32:50.843" v="100331"/>
          <ac:spMkLst>
            <pc:docMk/>
            <pc:sldMk cId="2165606813" sldId="263"/>
            <ac:spMk id="144" creationId="{023DAE35-797A-4C46-8F11-DDA15899233E}"/>
          </ac:spMkLst>
        </pc:spChg>
        <pc:spChg chg="add del mod">
          <ac:chgData name="Ugo MANTEL" userId="2d5b7065-31bb-4181-a7f8-a73bf0c30211" providerId="ADAL" clId="{287A013E-B4BE-485E-AE94-C2936752CD18}" dt="2020-09-30T13:32:50.842" v="100330"/>
          <ac:spMkLst>
            <pc:docMk/>
            <pc:sldMk cId="2165606813" sldId="263"/>
            <ac:spMk id="145" creationId="{5E3BA221-ABA4-4FC6-976F-E481D2FB9092}"/>
          </ac:spMkLst>
        </pc:spChg>
        <pc:spChg chg="add del mod">
          <ac:chgData name="Ugo MANTEL" userId="2d5b7065-31bb-4181-a7f8-a73bf0c30211" providerId="ADAL" clId="{287A013E-B4BE-485E-AE94-C2936752CD18}" dt="2020-09-30T13:32:50.842" v="100329"/>
          <ac:spMkLst>
            <pc:docMk/>
            <pc:sldMk cId="2165606813" sldId="263"/>
            <ac:spMk id="146" creationId="{16271D9E-E8FD-4FCF-AF67-90D8FBD04B5D}"/>
          </ac:spMkLst>
        </pc:spChg>
        <pc:spChg chg="add del mod">
          <ac:chgData name="Ugo MANTEL" userId="2d5b7065-31bb-4181-a7f8-a73bf0c30211" providerId="ADAL" clId="{287A013E-B4BE-485E-AE94-C2936752CD18}" dt="2020-09-30T13:32:50.842" v="100328"/>
          <ac:spMkLst>
            <pc:docMk/>
            <pc:sldMk cId="2165606813" sldId="263"/>
            <ac:spMk id="147" creationId="{6C89A563-FDBE-4B6E-A0C8-C9798F0C472C}"/>
          </ac:spMkLst>
        </pc:spChg>
        <pc:spChg chg="add del mod">
          <ac:chgData name="Ugo MANTEL" userId="2d5b7065-31bb-4181-a7f8-a73bf0c30211" providerId="ADAL" clId="{287A013E-B4BE-485E-AE94-C2936752CD18}" dt="2020-09-30T13:32:50.841" v="100327"/>
          <ac:spMkLst>
            <pc:docMk/>
            <pc:sldMk cId="2165606813" sldId="263"/>
            <ac:spMk id="148" creationId="{8FF15500-DA4B-4FDC-AAAE-6928CDC5DD7E}"/>
          </ac:spMkLst>
        </pc:spChg>
        <pc:spChg chg="add del mod">
          <ac:chgData name="Ugo MANTEL" userId="2d5b7065-31bb-4181-a7f8-a73bf0c30211" providerId="ADAL" clId="{287A013E-B4BE-485E-AE94-C2936752CD18}" dt="2020-09-30T13:32:50.841" v="100326"/>
          <ac:spMkLst>
            <pc:docMk/>
            <pc:sldMk cId="2165606813" sldId="263"/>
            <ac:spMk id="149" creationId="{CF49F24D-72DF-465F-9684-54C3BA8A186A}"/>
          </ac:spMkLst>
        </pc:spChg>
        <pc:spChg chg="add del mod">
          <ac:chgData name="Ugo MANTEL" userId="2d5b7065-31bb-4181-a7f8-a73bf0c30211" providerId="ADAL" clId="{287A013E-B4BE-485E-AE94-C2936752CD18}" dt="2020-09-30T13:32:50.840" v="100325"/>
          <ac:spMkLst>
            <pc:docMk/>
            <pc:sldMk cId="2165606813" sldId="263"/>
            <ac:spMk id="150" creationId="{E11FA38A-EA7E-4B3B-88EF-C79F30FA679A}"/>
          </ac:spMkLst>
        </pc:spChg>
        <pc:spChg chg="add del mod">
          <ac:chgData name="Ugo MANTEL" userId="2d5b7065-31bb-4181-a7f8-a73bf0c30211" providerId="ADAL" clId="{287A013E-B4BE-485E-AE94-C2936752CD18}" dt="2020-09-30T13:32:50.840" v="100324"/>
          <ac:spMkLst>
            <pc:docMk/>
            <pc:sldMk cId="2165606813" sldId="263"/>
            <ac:spMk id="151" creationId="{9B2040F6-C0EB-4A13-BCBC-756600AD4B1C}"/>
          </ac:spMkLst>
        </pc:spChg>
        <pc:spChg chg="add del mod">
          <ac:chgData name="Ugo MANTEL" userId="2d5b7065-31bb-4181-a7f8-a73bf0c30211" providerId="ADAL" clId="{287A013E-B4BE-485E-AE94-C2936752CD18}" dt="2020-09-30T13:32:50.839" v="100323"/>
          <ac:spMkLst>
            <pc:docMk/>
            <pc:sldMk cId="2165606813" sldId="263"/>
            <ac:spMk id="152" creationId="{58DB09C2-3DF6-4772-AA93-50940486644F}"/>
          </ac:spMkLst>
        </pc:spChg>
        <pc:spChg chg="add del mod">
          <ac:chgData name="Ugo MANTEL" userId="2d5b7065-31bb-4181-a7f8-a73bf0c30211" providerId="ADAL" clId="{287A013E-B4BE-485E-AE94-C2936752CD18}" dt="2020-09-30T13:32:50.838" v="100322"/>
          <ac:spMkLst>
            <pc:docMk/>
            <pc:sldMk cId="2165606813" sldId="263"/>
            <ac:spMk id="153" creationId="{8588FD26-2CAC-4A77-A8C6-1EB5BA62EE45}"/>
          </ac:spMkLst>
        </pc:spChg>
        <pc:spChg chg="add mod">
          <ac:chgData name="Ugo MANTEL" userId="2d5b7065-31bb-4181-a7f8-a73bf0c30211" providerId="ADAL" clId="{287A013E-B4BE-485E-AE94-C2936752CD18}" dt="2020-09-30T13:32:59.965" v="101257"/>
          <ac:spMkLst>
            <pc:docMk/>
            <pc:sldMk cId="2165606813" sldId="263"/>
            <ac:spMk id="155" creationId="{0CCE096D-634C-4395-9245-833547EC209B}"/>
          </ac:spMkLst>
        </pc:spChg>
        <pc:spChg chg="add mod">
          <ac:chgData name="Ugo MANTEL" userId="2d5b7065-31bb-4181-a7f8-a73bf0c30211" providerId="ADAL" clId="{287A013E-B4BE-485E-AE94-C2936752CD18}" dt="2020-09-30T13:32:59.966" v="101260"/>
          <ac:spMkLst>
            <pc:docMk/>
            <pc:sldMk cId="2165606813" sldId="263"/>
            <ac:spMk id="156" creationId="{C1182DFC-65B5-4A6E-9C3A-7D24ACD8AFA5}"/>
          </ac:spMkLst>
        </pc:spChg>
        <pc:spChg chg="add mod">
          <ac:chgData name="Ugo MANTEL" userId="2d5b7065-31bb-4181-a7f8-a73bf0c30211" providerId="ADAL" clId="{287A013E-B4BE-485E-AE94-C2936752CD18}" dt="2020-09-30T13:32:59.966" v="101259"/>
          <ac:spMkLst>
            <pc:docMk/>
            <pc:sldMk cId="2165606813" sldId="263"/>
            <ac:spMk id="157" creationId="{769D0FD4-49BB-4760-B68F-5382424F2B61}"/>
          </ac:spMkLst>
        </pc:spChg>
        <pc:spChg chg="add mod">
          <ac:chgData name="Ugo MANTEL" userId="2d5b7065-31bb-4181-a7f8-a73bf0c30211" providerId="ADAL" clId="{287A013E-B4BE-485E-AE94-C2936752CD18}" dt="2020-09-30T13:32:59.965" v="101258"/>
          <ac:spMkLst>
            <pc:docMk/>
            <pc:sldMk cId="2165606813" sldId="263"/>
            <ac:spMk id="158" creationId="{04D52AC6-6E22-4108-A934-E734833640D4}"/>
          </ac:spMkLst>
        </pc:spChg>
        <pc:spChg chg="add mod">
          <ac:chgData name="Ugo MANTEL" userId="2d5b7065-31bb-4181-a7f8-a73bf0c30211" providerId="ADAL" clId="{287A013E-B4BE-485E-AE94-C2936752CD18}" dt="2020-09-30T13:32:59.967" v="101262"/>
          <ac:spMkLst>
            <pc:docMk/>
            <pc:sldMk cId="2165606813" sldId="263"/>
            <ac:spMk id="159" creationId="{830F5991-30E4-46C6-8E71-1985B0F0A376}"/>
          </ac:spMkLst>
        </pc:spChg>
        <pc:spChg chg="add mod">
          <ac:chgData name="Ugo MANTEL" userId="2d5b7065-31bb-4181-a7f8-a73bf0c30211" providerId="ADAL" clId="{287A013E-B4BE-485E-AE94-C2936752CD18}" dt="2020-09-30T13:32:59.967" v="101263"/>
          <ac:spMkLst>
            <pc:docMk/>
            <pc:sldMk cId="2165606813" sldId="263"/>
            <ac:spMk id="160" creationId="{55AECC44-7DA1-44BC-A1F9-2E9ACB7A1501}"/>
          </ac:spMkLst>
        </pc:spChg>
        <pc:spChg chg="add mod">
          <ac:chgData name="Ugo MANTEL" userId="2d5b7065-31bb-4181-a7f8-a73bf0c30211" providerId="ADAL" clId="{287A013E-B4BE-485E-AE94-C2936752CD18}" dt="2020-09-30T13:32:59.966" v="101261"/>
          <ac:spMkLst>
            <pc:docMk/>
            <pc:sldMk cId="2165606813" sldId="263"/>
            <ac:spMk id="161" creationId="{42529B12-FD48-4C84-B687-1C3C4D8E9E0C}"/>
          </ac:spMkLst>
        </pc:spChg>
        <pc:spChg chg="add mod">
          <ac:chgData name="Ugo MANTEL" userId="2d5b7065-31bb-4181-a7f8-a73bf0c30211" providerId="ADAL" clId="{287A013E-B4BE-485E-AE94-C2936752CD18}" dt="2020-09-30T13:32:59.965" v="101256"/>
          <ac:spMkLst>
            <pc:docMk/>
            <pc:sldMk cId="2165606813" sldId="263"/>
            <ac:spMk id="162" creationId="{26BA82C9-B8F9-4D32-800B-68126C4927FD}"/>
          </ac:spMkLst>
        </pc:spChg>
        <pc:spChg chg="add mod">
          <ac:chgData name="Ugo MANTEL" userId="2d5b7065-31bb-4181-a7f8-a73bf0c30211" providerId="ADAL" clId="{287A013E-B4BE-485E-AE94-C2936752CD18}" dt="2020-09-30T13:32:59.967" v="101264"/>
          <ac:spMkLst>
            <pc:docMk/>
            <pc:sldMk cId="2165606813" sldId="263"/>
            <ac:spMk id="163" creationId="{14294F2B-B55E-40AB-9188-82C8CB326E16}"/>
          </ac:spMkLst>
        </pc:spChg>
        <pc:spChg chg="add mod">
          <ac:chgData name="Ugo MANTEL" userId="2d5b7065-31bb-4181-a7f8-a73bf0c30211" providerId="ADAL" clId="{287A013E-B4BE-485E-AE94-C2936752CD18}" dt="2020-09-30T13:32:59.968" v="101266"/>
          <ac:spMkLst>
            <pc:docMk/>
            <pc:sldMk cId="2165606813" sldId="263"/>
            <ac:spMk id="164" creationId="{5AF63AA4-422E-4AD3-BCC8-0129EE7DB8BB}"/>
          </ac:spMkLst>
        </pc:spChg>
        <pc:spChg chg="add mod">
          <ac:chgData name="Ugo MANTEL" userId="2d5b7065-31bb-4181-a7f8-a73bf0c30211" providerId="ADAL" clId="{287A013E-B4BE-485E-AE94-C2936752CD18}" dt="2020-09-30T13:32:59.968" v="101265"/>
          <ac:spMkLst>
            <pc:docMk/>
            <pc:sldMk cId="2165606813" sldId="263"/>
            <ac:spMk id="165" creationId="{79E16238-1134-49D5-B565-94D38A3E7679}"/>
          </ac:spMkLst>
        </pc:spChg>
        <pc:graphicFrameChg chg="add del mod ord">
          <ac:chgData name="Ugo MANTEL" userId="2d5b7065-31bb-4181-a7f8-a73bf0c30211" providerId="ADAL" clId="{287A013E-B4BE-485E-AE94-C2936752CD18}" dt="2020-09-30T13:29:18.384" v="92738"/>
          <ac:graphicFrameMkLst>
            <pc:docMk/>
            <pc:sldMk cId="2165606813" sldId="263"/>
            <ac:graphicFrameMk id="10" creationId="{C0371464-A59B-46C5-8979-5FB81D01EEF6}"/>
          </ac:graphicFrameMkLst>
        </pc:graphicFrameChg>
        <pc:graphicFrameChg chg="add mod ord modVis">
          <ac:chgData name="Ugo MANTEL" userId="2d5b7065-31bb-4181-a7f8-a73bf0c30211" providerId="ADAL" clId="{287A013E-B4BE-485E-AE94-C2936752CD18}" dt="2020-09-30T13:32:59.979" v="101281"/>
          <ac:graphicFrameMkLst>
            <pc:docMk/>
            <pc:sldMk cId="2165606813" sldId="263"/>
            <ac:graphicFrameMk id="13" creationId="{1B7C4A25-B4F1-4B6C-BAA0-767773F3A0E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29:20.760" v="92769"/>
          <ac:graphicFrameMkLst>
            <pc:docMk/>
            <pc:sldMk cId="2165606813" sldId="263"/>
            <ac:graphicFrameMk id="14" creationId="{41E4FE55-E30A-4BC3-859F-8B097A6BF7B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29:28.708" v="93558"/>
          <ac:graphicFrameMkLst>
            <pc:docMk/>
            <pc:sldMk cId="2165606813" sldId="263"/>
            <ac:graphicFrameMk id="15" creationId="{E7F494F7-94F0-47D1-88BB-EA40C283201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0:19.831" v="94108"/>
          <ac:graphicFrameMkLst>
            <pc:docMk/>
            <pc:sldMk cId="2165606813" sldId="263"/>
            <ac:graphicFrameMk id="27" creationId="{CE9BC756-8AD7-4561-9C73-85E6901D1B9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0:37.494" v="95153"/>
          <ac:graphicFrameMkLst>
            <pc:docMk/>
            <pc:sldMk cId="2165606813" sldId="263"/>
            <ac:graphicFrameMk id="61" creationId="{AD9B1530-BCF4-49B8-9004-4DD25054446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0:47.528" v="95518"/>
          <ac:graphicFrameMkLst>
            <pc:docMk/>
            <pc:sldMk cId="2165606813" sldId="263"/>
            <ac:graphicFrameMk id="99" creationId="{DC084C9E-0257-4920-9ECA-B127FF9361C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0:49.670" v="95871"/>
          <ac:graphicFrameMkLst>
            <pc:docMk/>
            <pc:sldMk cId="2165606813" sldId="263"/>
            <ac:graphicFrameMk id="100" creationId="{0D56C71E-5FA0-4030-A6B9-D5C21077E1A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0:53.402" v="96056"/>
          <ac:graphicFrameMkLst>
            <pc:docMk/>
            <pc:sldMk cId="2165606813" sldId="263"/>
            <ac:graphicFrameMk id="101" creationId="{1FDE37DE-0E4E-4355-ADAD-7142E6CD49A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0:57.813" v="96397"/>
          <ac:graphicFrameMkLst>
            <pc:docMk/>
            <pc:sldMk cId="2165606813" sldId="263"/>
            <ac:graphicFrameMk id="102" creationId="{670BD7D3-7E7A-4961-AFF2-6C01360C92A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1:13.476" v="97067"/>
          <ac:graphicFrameMkLst>
            <pc:docMk/>
            <pc:sldMk cId="2165606813" sldId="263"/>
            <ac:graphicFrameMk id="103" creationId="{D7AFEAEE-8AE6-4F64-834C-C82441BD8CB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1:14.338" v="97237"/>
          <ac:graphicFrameMkLst>
            <pc:docMk/>
            <pc:sldMk cId="2165606813" sldId="263"/>
            <ac:graphicFrameMk id="115" creationId="{BFB881EB-1182-4568-B4FD-DD1A8C2DE83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1:20.274" v="97490"/>
          <ac:graphicFrameMkLst>
            <pc:docMk/>
            <pc:sldMk cId="2165606813" sldId="263"/>
            <ac:graphicFrameMk id="116" creationId="{6FA8DD37-99B3-4450-ADE9-3EDC4BFD60A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1:27.839" v="97591"/>
          <ac:graphicFrameMkLst>
            <pc:docMk/>
            <pc:sldMk cId="2165606813" sldId="263"/>
            <ac:graphicFrameMk id="117" creationId="{6559F71A-ABB4-4E4C-9855-D72488B153F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1:32.707" v="97694"/>
          <ac:graphicFrameMkLst>
            <pc:docMk/>
            <pc:sldMk cId="2165606813" sldId="263"/>
            <ac:graphicFrameMk id="118" creationId="{011FF35D-08F7-4741-849C-277294EDA6E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1:36.782" v="97770"/>
          <ac:graphicFrameMkLst>
            <pc:docMk/>
            <pc:sldMk cId="2165606813" sldId="263"/>
            <ac:graphicFrameMk id="119" creationId="{72848F5C-CA02-4F05-8BA6-B09B04770E8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1:48.127" v="97892"/>
          <ac:graphicFrameMkLst>
            <pc:docMk/>
            <pc:sldMk cId="2165606813" sldId="263"/>
            <ac:graphicFrameMk id="120" creationId="{8D38F7D9-E27F-434F-9305-5C8A6AE4A79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1:51.366" v="98014"/>
          <ac:graphicFrameMkLst>
            <pc:docMk/>
            <pc:sldMk cId="2165606813" sldId="263"/>
            <ac:graphicFrameMk id="121" creationId="{0D6E3EDF-30C6-4154-BF37-341AC860BFD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2:05.836" v="98094"/>
          <ac:graphicFrameMkLst>
            <pc:docMk/>
            <pc:sldMk cId="2165606813" sldId="263"/>
            <ac:graphicFrameMk id="122" creationId="{44B6D8F0-6B55-4D44-9450-B5300A4FC4D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2:09.173" v="98470"/>
          <ac:graphicFrameMkLst>
            <pc:docMk/>
            <pc:sldMk cId="2165606813" sldId="263"/>
            <ac:graphicFrameMk id="123" creationId="{DD6A966A-EE3F-4171-9A7A-6792B4456C3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2:12.153" v="98553"/>
          <ac:graphicFrameMkLst>
            <pc:docMk/>
            <pc:sldMk cId="2165606813" sldId="263"/>
            <ac:graphicFrameMk id="129" creationId="{0152B0AE-E1C5-476D-9D52-19A22507028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2:26.588" v="99390"/>
          <ac:graphicFrameMkLst>
            <pc:docMk/>
            <pc:sldMk cId="2165606813" sldId="263"/>
            <ac:graphicFrameMk id="130" creationId="{D6A08C8B-E76C-4FF5-A2BC-9AF7F2EAB41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2:32.164" v="100258"/>
          <ac:graphicFrameMkLst>
            <pc:docMk/>
            <pc:sldMk cId="2165606813" sldId="263"/>
            <ac:graphicFrameMk id="142" creationId="{A52D83A6-9A63-4F90-82AD-84E2F62582D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2:52.179" v="101126"/>
          <ac:graphicFrameMkLst>
            <pc:docMk/>
            <pc:sldMk cId="2165606813" sldId="263"/>
            <ac:graphicFrameMk id="154" creationId="{BE4FCA76-0578-42B0-8271-2F970E42ED9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2:54.407" v="101199"/>
          <ac:graphicFrameMkLst>
            <pc:docMk/>
            <pc:sldMk cId="2165606813" sldId="263"/>
            <ac:graphicFrameMk id="166" creationId="{44B77DAF-0069-42FD-B813-7E63747FA04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32:59.940" v="101241"/>
          <ac:graphicFrameMkLst>
            <pc:docMk/>
            <pc:sldMk cId="2165606813" sldId="263"/>
            <ac:graphicFrameMk id="167" creationId="{EAE3224F-BEFD-4E37-809C-1EB8D6D1B746}"/>
          </ac:graphicFrameMkLst>
        </pc:graphicFrameChg>
        <pc:graphicFrameChg chg="add mod ord">
          <ac:chgData name="Ugo MANTEL" userId="2d5b7065-31bb-4181-a7f8-a73bf0c30211" providerId="ADAL" clId="{287A013E-B4BE-485E-AE94-C2936752CD18}" dt="2020-09-30T13:32:59.964" v="101255"/>
          <ac:graphicFrameMkLst>
            <pc:docMk/>
            <pc:sldMk cId="2165606813" sldId="263"/>
            <ac:graphicFrameMk id="168" creationId="{AEA9D56B-97C2-4F96-B29C-D3157DC142D8}"/>
          </ac:graphicFrameMkLst>
        </pc:graphicFrameChg>
        <pc:cxnChg chg="add del mod ord">
          <ac:chgData name="Ugo MANTEL" userId="2d5b7065-31bb-4181-a7f8-a73bf0c30211" providerId="ADAL" clId="{287A013E-B4BE-485E-AE94-C2936752CD18}" dt="2020-09-30T13:31:20.083" v="97418"/>
          <ac:cxnSpMkLst>
            <pc:docMk/>
            <pc:sldMk cId="2165606813" sldId="263"/>
            <ac:cxnSpMk id="44" creationId="{D9C8EA35-291F-465F-AE00-CFD3C26E6A90}"/>
          </ac:cxnSpMkLst>
        </pc:cxnChg>
        <pc:cxnChg chg="add del mod ord">
          <ac:chgData name="Ugo MANTEL" userId="2d5b7065-31bb-4181-a7f8-a73bf0c30211" providerId="ADAL" clId="{287A013E-B4BE-485E-AE94-C2936752CD18}" dt="2020-09-30T13:31:20.080" v="97416"/>
          <ac:cxnSpMkLst>
            <pc:docMk/>
            <pc:sldMk cId="2165606813" sldId="263"/>
            <ac:cxnSpMk id="45" creationId="{76EA7BA9-DB2A-419D-B83C-68192E897A00}"/>
          </ac:cxnSpMkLst>
        </pc:cxnChg>
        <pc:cxnChg chg="add del mod ord">
          <ac:chgData name="Ugo MANTEL" userId="2d5b7065-31bb-4181-a7f8-a73bf0c30211" providerId="ADAL" clId="{287A013E-B4BE-485E-AE94-C2936752CD18}" dt="2020-09-30T13:31:20.078" v="97414"/>
          <ac:cxnSpMkLst>
            <pc:docMk/>
            <pc:sldMk cId="2165606813" sldId="263"/>
            <ac:cxnSpMk id="46" creationId="{4AEAFF8A-CCD2-4AC3-9CD5-4423ADF57D34}"/>
          </ac:cxnSpMkLst>
        </pc:cxnChg>
        <pc:cxnChg chg="add del mod ord">
          <ac:chgData name="Ugo MANTEL" userId="2d5b7065-31bb-4181-a7f8-a73bf0c30211" providerId="ADAL" clId="{287A013E-B4BE-485E-AE94-C2936752CD18}" dt="2020-09-30T13:31:20.076" v="97412"/>
          <ac:cxnSpMkLst>
            <pc:docMk/>
            <pc:sldMk cId="2165606813" sldId="263"/>
            <ac:cxnSpMk id="47" creationId="{1F085D4C-D72E-465E-A6F4-096E58927DAA}"/>
          </ac:cxnSpMkLst>
        </pc:cxnChg>
        <pc:cxnChg chg="add del mod ord">
          <ac:chgData name="Ugo MANTEL" userId="2d5b7065-31bb-4181-a7f8-a73bf0c30211" providerId="ADAL" clId="{287A013E-B4BE-485E-AE94-C2936752CD18}" dt="2020-09-30T13:31:20.073" v="97410"/>
          <ac:cxnSpMkLst>
            <pc:docMk/>
            <pc:sldMk cId="2165606813" sldId="263"/>
            <ac:cxnSpMk id="48" creationId="{42FA0FF8-6CF1-4C12-8857-B9CC74202E72}"/>
          </ac:cxnSpMkLst>
        </pc:cxnChg>
        <pc:cxnChg chg="add del mod ord">
          <ac:chgData name="Ugo MANTEL" userId="2d5b7065-31bb-4181-a7f8-a73bf0c30211" providerId="ADAL" clId="{287A013E-B4BE-485E-AE94-C2936752CD18}" dt="2020-09-30T13:31:20.069" v="97408"/>
          <ac:cxnSpMkLst>
            <pc:docMk/>
            <pc:sldMk cId="2165606813" sldId="263"/>
            <ac:cxnSpMk id="49" creationId="{21713C09-5BA5-478B-A209-4BCF6C20E8A3}"/>
          </ac:cxnSpMkLst>
        </pc:cxnChg>
        <pc:cxnChg chg="add del mod ord">
          <ac:chgData name="Ugo MANTEL" userId="2d5b7065-31bb-4181-a7f8-a73bf0c30211" providerId="ADAL" clId="{287A013E-B4BE-485E-AE94-C2936752CD18}" dt="2020-09-30T13:31:20.067" v="97406"/>
          <ac:cxnSpMkLst>
            <pc:docMk/>
            <pc:sldMk cId="2165606813" sldId="263"/>
            <ac:cxnSpMk id="50" creationId="{B38EB2F8-A81E-4E3D-9172-9A19DEB8BBFC}"/>
          </ac:cxnSpMkLst>
        </pc:cxnChg>
        <pc:cxnChg chg="add del mod ord">
          <ac:chgData name="Ugo MANTEL" userId="2d5b7065-31bb-4181-a7f8-a73bf0c30211" providerId="ADAL" clId="{287A013E-B4BE-485E-AE94-C2936752CD18}" dt="2020-09-30T13:31:20.101" v="97436"/>
          <ac:cxnSpMkLst>
            <pc:docMk/>
            <pc:sldMk cId="2165606813" sldId="263"/>
            <ac:cxnSpMk id="51" creationId="{2309BAF0-504D-4ECA-9001-706D7EA22636}"/>
          </ac:cxnSpMkLst>
        </pc:cxnChg>
        <pc:cxnChg chg="add del mod ord">
          <ac:chgData name="Ugo MANTEL" userId="2d5b7065-31bb-4181-a7f8-a73bf0c30211" providerId="ADAL" clId="{287A013E-B4BE-485E-AE94-C2936752CD18}" dt="2020-09-30T13:31:20.100" v="97434"/>
          <ac:cxnSpMkLst>
            <pc:docMk/>
            <pc:sldMk cId="2165606813" sldId="263"/>
            <ac:cxnSpMk id="52" creationId="{E09710E3-A415-4128-A5E9-A4C48E41AD3C}"/>
          </ac:cxnSpMkLst>
        </pc:cxnChg>
        <pc:cxnChg chg="add del mod ord">
          <ac:chgData name="Ugo MANTEL" userId="2d5b7065-31bb-4181-a7f8-a73bf0c30211" providerId="ADAL" clId="{287A013E-B4BE-485E-AE94-C2936752CD18}" dt="2020-09-30T13:31:20.098" v="97432"/>
          <ac:cxnSpMkLst>
            <pc:docMk/>
            <pc:sldMk cId="2165606813" sldId="263"/>
            <ac:cxnSpMk id="53" creationId="{5D721174-DB3F-49E0-8CB3-7E8B4603866E}"/>
          </ac:cxnSpMkLst>
        </pc:cxnChg>
        <pc:cxnChg chg="add del mod ord">
          <ac:chgData name="Ugo MANTEL" userId="2d5b7065-31bb-4181-a7f8-a73bf0c30211" providerId="ADAL" clId="{287A013E-B4BE-485E-AE94-C2936752CD18}" dt="2020-09-30T13:31:20.094" v="97428"/>
          <ac:cxnSpMkLst>
            <pc:docMk/>
            <pc:sldMk cId="2165606813" sldId="263"/>
            <ac:cxnSpMk id="54" creationId="{04F395B8-9664-4CB2-AB04-1BF2D42E7FAC}"/>
          </ac:cxnSpMkLst>
        </pc:cxnChg>
        <pc:cxnChg chg="add del mod ord">
          <ac:chgData name="Ugo MANTEL" userId="2d5b7065-31bb-4181-a7f8-a73bf0c30211" providerId="ADAL" clId="{287A013E-B4BE-485E-AE94-C2936752CD18}" dt="2020-09-30T13:31:20.092" v="97426"/>
          <ac:cxnSpMkLst>
            <pc:docMk/>
            <pc:sldMk cId="2165606813" sldId="263"/>
            <ac:cxnSpMk id="55" creationId="{1742F69B-D547-4048-8B60-C732A4D9C2A6}"/>
          </ac:cxnSpMkLst>
        </pc:cxnChg>
        <pc:cxnChg chg="add del mod ord">
          <ac:chgData name="Ugo MANTEL" userId="2d5b7065-31bb-4181-a7f8-a73bf0c30211" providerId="ADAL" clId="{287A013E-B4BE-485E-AE94-C2936752CD18}" dt="2020-09-30T13:31:20.090" v="97424"/>
          <ac:cxnSpMkLst>
            <pc:docMk/>
            <pc:sldMk cId="2165606813" sldId="263"/>
            <ac:cxnSpMk id="56" creationId="{B4EC2CD2-87D3-42FB-A867-733496E49CE6}"/>
          </ac:cxnSpMkLst>
        </pc:cxnChg>
        <pc:cxnChg chg="add del mod ord">
          <ac:chgData name="Ugo MANTEL" userId="2d5b7065-31bb-4181-a7f8-a73bf0c30211" providerId="ADAL" clId="{287A013E-B4BE-485E-AE94-C2936752CD18}" dt="2020-09-30T13:31:20.118" v="97454"/>
          <ac:cxnSpMkLst>
            <pc:docMk/>
            <pc:sldMk cId="2165606813" sldId="263"/>
            <ac:cxnSpMk id="57" creationId="{E0A19A4B-71D8-4F41-9A74-5FEC419D570A}"/>
          </ac:cxnSpMkLst>
        </pc:cxnChg>
        <pc:cxnChg chg="add del mod ord">
          <ac:chgData name="Ugo MANTEL" userId="2d5b7065-31bb-4181-a7f8-a73bf0c30211" providerId="ADAL" clId="{287A013E-B4BE-485E-AE94-C2936752CD18}" dt="2020-09-30T13:31:20.114" v="97450"/>
          <ac:cxnSpMkLst>
            <pc:docMk/>
            <pc:sldMk cId="2165606813" sldId="263"/>
            <ac:cxnSpMk id="58" creationId="{5894DF59-4218-4223-A790-0D16013D71BD}"/>
          </ac:cxnSpMkLst>
        </pc:cxnChg>
        <pc:cxnChg chg="add del mod ord">
          <ac:chgData name="Ugo MANTEL" userId="2d5b7065-31bb-4181-a7f8-a73bf0c30211" providerId="ADAL" clId="{287A013E-B4BE-485E-AE94-C2936752CD18}" dt="2020-09-30T13:31:20.111" v="97446"/>
          <ac:cxnSpMkLst>
            <pc:docMk/>
            <pc:sldMk cId="2165606813" sldId="263"/>
            <ac:cxnSpMk id="59" creationId="{6AC959CC-3EF9-465C-81E8-BAAD8C416035}"/>
          </ac:cxnSpMkLst>
        </pc:cxnChg>
        <pc:cxnChg chg="add del mod ord">
          <ac:chgData name="Ugo MANTEL" userId="2d5b7065-31bb-4181-a7f8-a73bf0c30211" providerId="ADAL" clId="{287A013E-B4BE-485E-AE94-C2936752CD18}" dt="2020-09-30T13:31:20.107" v="97442"/>
          <ac:cxnSpMkLst>
            <pc:docMk/>
            <pc:sldMk cId="2165606813" sldId="263"/>
            <ac:cxnSpMk id="60" creationId="{08B61ED1-9FB6-4608-AE09-24E1846F7D16}"/>
          </ac:cxnSpMkLst>
        </pc:cxnChg>
        <pc:cxnChg chg="add del mod ord">
          <ac:chgData name="Ugo MANTEL" userId="2d5b7065-31bb-4181-a7f8-a73bf0c30211" providerId="ADAL" clId="{287A013E-B4BE-485E-AE94-C2936752CD18}" dt="2020-09-30T13:31:13.354" v="96949"/>
          <ac:cxnSpMkLst>
            <pc:docMk/>
            <pc:sldMk cId="2165606813" sldId="263"/>
            <ac:cxnSpMk id="93" creationId="{90ACD211-A492-4C51-9407-55C6CE521A4E}"/>
          </ac:cxnSpMkLst>
        </pc:cxnChg>
        <pc:cxnChg chg="add del mod ord">
          <ac:chgData name="Ugo MANTEL" userId="2d5b7065-31bb-4181-a7f8-a73bf0c30211" providerId="ADAL" clId="{287A013E-B4BE-485E-AE94-C2936752CD18}" dt="2020-09-30T13:31:20.085" v="97420"/>
          <ac:cxnSpMkLst>
            <pc:docMk/>
            <pc:sldMk cId="2165606813" sldId="263"/>
            <ac:cxnSpMk id="94" creationId="{8E0FCB49-2AEB-474F-B524-1DE1EA7D840C}"/>
          </ac:cxnSpMkLst>
        </pc:cxnChg>
        <pc:cxnChg chg="add del mod ord">
          <ac:chgData name="Ugo MANTEL" userId="2d5b7065-31bb-4181-a7f8-a73bf0c30211" providerId="ADAL" clId="{287A013E-B4BE-485E-AE94-C2936752CD18}" dt="2020-09-30T13:31:20.096" v="97430"/>
          <ac:cxnSpMkLst>
            <pc:docMk/>
            <pc:sldMk cId="2165606813" sldId="263"/>
            <ac:cxnSpMk id="95" creationId="{D0B8DF9A-1F7E-4DB0-81D5-293F35DBA064}"/>
          </ac:cxnSpMkLst>
        </pc:cxnChg>
        <pc:cxnChg chg="add del mod ord">
          <ac:chgData name="Ugo MANTEL" userId="2d5b7065-31bb-4181-a7f8-a73bf0c30211" providerId="ADAL" clId="{287A013E-B4BE-485E-AE94-C2936752CD18}" dt="2020-09-30T13:31:20.116" v="97452"/>
          <ac:cxnSpMkLst>
            <pc:docMk/>
            <pc:sldMk cId="2165606813" sldId="263"/>
            <ac:cxnSpMk id="96" creationId="{836CF5DA-7615-41D8-B809-6124A10008E9}"/>
          </ac:cxnSpMkLst>
        </pc:cxnChg>
        <pc:cxnChg chg="add del mod ord">
          <ac:chgData name="Ugo MANTEL" userId="2d5b7065-31bb-4181-a7f8-a73bf0c30211" providerId="ADAL" clId="{287A013E-B4BE-485E-AE94-C2936752CD18}" dt="2020-09-30T13:31:20.113" v="97448"/>
          <ac:cxnSpMkLst>
            <pc:docMk/>
            <pc:sldMk cId="2165606813" sldId="263"/>
            <ac:cxnSpMk id="97" creationId="{F57B7A3E-F180-40E8-A5A6-F9C169E46B92}"/>
          </ac:cxnSpMkLst>
        </pc:cxnChg>
        <pc:cxnChg chg="add del mod ord">
          <ac:chgData name="Ugo MANTEL" userId="2d5b7065-31bb-4181-a7f8-a73bf0c30211" providerId="ADAL" clId="{287A013E-B4BE-485E-AE94-C2936752CD18}" dt="2020-09-30T13:31:20.109" v="97444"/>
          <ac:cxnSpMkLst>
            <pc:docMk/>
            <pc:sldMk cId="2165606813" sldId="263"/>
            <ac:cxnSpMk id="98" creationId="{B9DB60EC-D882-4753-BE7E-0ED2BA3ABA3B}"/>
          </ac:cxnSpMkLst>
        </pc:cxnChg>
        <pc:cxnChg chg="add del mod ord">
          <ac:chgData name="Ugo MANTEL" userId="2d5b7065-31bb-4181-a7f8-a73bf0c30211" providerId="ADAL" clId="{287A013E-B4BE-485E-AE94-C2936752CD18}" dt="2020-09-30T13:31:20.103" v="97438"/>
          <ac:cxnSpMkLst>
            <pc:docMk/>
            <pc:sldMk cId="2165606813" sldId="263"/>
            <ac:cxnSpMk id="111" creationId="{503AF40A-3581-4AB0-AD2D-4E2751F53180}"/>
          </ac:cxnSpMkLst>
        </pc:cxnChg>
        <pc:cxnChg chg="add del mod ord">
          <ac:chgData name="Ugo MANTEL" userId="2d5b7065-31bb-4181-a7f8-a73bf0c30211" providerId="ADAL" clId="{287A013E-B4BE-485E-AE94-C2936752CD18}" dt="2020-09-30T13:31:20.087" v="97422"/>
          <ac:cxnSpMkLst>
            <pc:docMk/>
            <pc:sldMk cId="2165606813" sldId="263"/>
            <ac:cxnSpMk id="112" creationId="{8C589DAD-30F3-402D-82D3-61FE45BA4876}"/>
          </ac:cxnSpMkLst>
        </pc:cxnChg>
        <pc:cxnChg chg="add del mod ord">
          <ac:chgData name="Ugo MANTEL" userId="2d5b7065-31bb-4181-a7f8-a73bf0c30211" providerId="ADAL" clId="{287A013E-B4BE-485E-AE94-C2936752CD18}" dt="2020-09-30T13:31:20.119" v="97456"/>
          <ac:cxnSpMkLst>
            <pc:docMk/>
            <pc:sldMk cId="2165606813" sldId="263"/>
            <ac:cxnSpMk id="113" creationId="{A084E1F1-7E13-4C14-986D-AB6F5C2FD724}"/>
          </ac:cxnSpMkLst>
        </pc:cxnChg>
        <pc:cxnChg chg="add del mod ord">
          <ac:chgData name="Ugo MANTEL" userId="2d5b7065-31bb-4181-a7f8-a73bf0c30211" providerId="ADAL" clId="{287A013E-B4BE-485E-AE94-C2936752CD18}" dt="2020-09-30T13:31:20.105" v="97440"/>
          <ac:cxnSpMkLst>
            <pc:docMk/>
            <pc:sldMk cId="2165606813" sldId="263"/>
            <ac:cxnSpMk id="114" creationId="{C9E2DAF8-AA99-4712-825F-10142C9E146F}"/>
          </ac:cxnSpMkLst>
        </pc:cxnChg>
      </pc:sldChg>
      <pc:sldChg chg="addSp delSp modSp new add mod">
        <pc:chgData name="Ugo MANTEL" userId="2d5b7065-31bb-4181-a7f8-a73bf0c30211" providerId="ADAL" clId="{287A013E-B4BE-485E-AE94-C2936752CD18}" dt="2020-09-30T14:16:44.382" v="110143" actId="20577"/>
        <pc:sldMkLst>
          <pc:docMk/>
          <pc:sldMk cId="2951004223" sldId="263"/>
        </pc:sldMkLst>
        <pc:spChg chg="mod ord">
          <ac:chgData name="Ugo MANTEL" userId="2d5b7065-31bb-4181-a7f8-a73bf0c30211" providerId="ADAL" clId="{287A013E-B4BE-485E-AE94-C2936752CD18}" dt="2020-09-30T14:14:36.451" v="110086"/>
          <ac:spMkLst>
            <pc:docMk/>
            <pc:sldMk cId="2951004223" sldId="263"/>
            <ac:spMk id="2" creationId="{74942BC8-F7FC-49E9-B296-00C71A2F51D5}"/>
          </ac:spMkLst>
        </pc:spChg>
        <pc:spChg chg="add del mod">
          <ac:chgData name="Ugo MANTEL" userId="2d5b7065-31bb-4181-a7f8-a73bf0c30211" providerId="ADAL" clId="{287A013E-B4BE-485E-AE94-C2936752CD18}" dt="2020-09-30T14:06:35.884" v="109503"/>
          <ac:spMkLst>
            <pc:docMk/>
            <pc:sldMk cId="2951004223" sldId="263"/>
            <ac:spMk id="3" creationId="{81BFD831-F19B-43EA-9D5E-EE9710897A60}"/>
          </ac:spMkLst>
        </pc:spChg>
        <pc:spChg chg="add mod ord modVis">
          <ac:chgData name="Ugo MANTEL" userId="2d5b7065-31bb-4181-a7f8-a73bf0c30211" providerId="ADAL" clId="{287A013E-B4BE-485E-AE94-C2936752CD18}" dt="2020-09-30T14:14:36.451" v="110084"/>
          <ac:spMkLst>
            <pc:docMk/>
            <pc:sldMk cId="2951004223" sldId="263"/>
            <ac:spMk id="4" creationId="{1D149B75-29E2-4A32-B447-52C1973EDED0}"/>
          </ac:spMkLst>
        </pc:spChg>
        <pc:spChg chg="add del mod">
          <ac:chgData name="Ugo MANTEL" userId="2d5b7065-31bb-4181-a7f8-a73bf0c30211" providerId="ADAL" clId="{287A013E-B4BE-485E-AE94-C2936752CD18}" dt="2020-09-30T13:41:09.541" v="102880"/>
          <ac:spMkLst>
            <pc:docMk/>
            <pc:sldMk cId="2951004223" sldId="263"/>
            <ac:spMk id="5" creationId="{67C98722-E932-4227-9C25-D145DC01E30F}"/>
          </ac:spMkLst>
        </pc:spChg>
        <pc:spChg chg="add mod">
          <ac:chgData name="Ugo MANTEL" userId="2d5b7065-31bb-4181-a7f8-a73bf0c30211" providerId="ADAL" clId="{287A013E-B4BE-485E-AE94-C2936752CD18}" dt="2020-09-30T14:14:36.461" v="110108"/>
          <ac:spMkLst>
            <pc:docMk/>
            <pc:sldMk cId="2951004223" sldId="263"/>
            <ac:spMk id="6" creationId="{20ABFB18-92B3-4581-849D-D6C5F42002DE}"/>
          </ac:spMkLst>
        </pc:spChg>
        <pc:spChg chg="add mod">
          <ac:chgData name="Ugo MANTEL" userId="2d5b7065-31bb-4181-a7f8-a73bf0c30211" providerId="ADAL" clId="{287A013E-B4BE-485E-AE94-C2936752CD18}" dt="2020-09-30T14:14:36.462" v="110109"/>
          <ac:spMkLst>
            <pc:docMk/>
            <pc:sldMk cId="2951004223" sldId="263"/>
            <ac:spMk id="7" creationId="{8FD9938C-F978-46AE-BB3A-EDEDFF7FD70A}"/>
          </ac:spMkLst>
        </pc:spChg>
        <pc:spChg chg="add mod">
          <ac:chgData name="Ugo MANTEL" userId="2d5b7065-31bb-4181-a7f8-a73bf0c30211" providerId="ADAL" clId="{287A013E-B4BE-485E-AE94-C2936752CD18}" dt="2020-09-30T14:14:36.461" v="110107"/>
          <ac:spMkLst>
            <pc:docMk/>
            <pc:sldMk cId="2951004223" sldId="263"/>
            <ac:spMk id="8" creationId="{24DBBEC1-2EBC-4025-BAED-993C2FA9EB18}"/>
          </ac:spMkLst>
        </pc:spChg>
        <pc:spChg chg="add del mod">
          <ac:chgData name="Ugo MANTEL" userId="2d5b7065-31bb-4181-a7f8-a73bf0c30211" providerId="ADAL" clId="{287A013E-B4BE-485E-AE94-C2936752CD18}" dt="2020-09-30T14:06:35.883" v="109502"/>
          <ac:spMkLst>
            <pc:docMk/>
            <pc:sldMk cId="2951004223" sldId="263"/>
            <ac:spMk id="10" creationId="{2824BA71-5E3F-4FFA-A90C-C1E9F66CBAFE}"/>
          </ac:spMkLst>
        </pc:spChg>
        <pc:spChg chg="add del mod">
          <ac:chgData name="Ugo MANTEL" userId="2d5b7065-31bb-4181-a7f8-a73bf0c30211" providerId="ADAL" clId="{287A013E-B4BE-485E-AE94-C2936752CD18}" dt="2020-09-30T13:41:09.541" v="102879"/>
          <ac:spMkLst>
            <pc:docMk/>
            <pc:sldMk cId="2951004223" sldId="263"/>
            <ac:spMk id="11" creationId="{D0E07C61-D416-41CE-B20A-67318937C5B1}"/>
          </ac:spMkLst>
        </pc:spChg>
        <pc:spChg chg="add del mod">
          <ac:chgData name="Ugo MANTEL" userId="2d5b7065-31bb-4181-a7f8-a73bf0c30211" providerId="ADAL" clId="{287A013E-B4BE-485E-AE94-C2936752CD18}" dt="2020-09-30T13:41:09.542" v="102882"/>
          <ac:spMkLst>
            <pc:docMk/>
            <pc:sldMk cId="2951004223" sldId="263"/>
            <ac:spMk id="13" creationId="{C1C7BA6D-61A6-42E7-B119-76B293FAF637}"/>
          </ac:spMkLst>
        </pc:spChg>
        <pc:spChg chg="add del mod">
          <ac:chgData name="Ugo MANTEL" userId="2d5b7065-31bb-4181-a7f8-a73bf0c30211" providerId="ADAL" clId="{287A013E-B4BE-485E-AE94-C2936752CD18}" dt="2020-09-30T13:41:09.543" v="102884"/>
          <ac:spMkLst>
            <pc:docMk/>
            <pc:sldMk cId="2951004223" sldId="263"/>
            <ac:spMk id="14" creationId="{C69A2CB5-0177-4AF3-B05F-3C3D4CD465D0}"/>
          </ac:spMkLst>
        </pc:spChg>
        <pc:spChg chg="add del mod">
          <ac:chgData name="Ugo MANTEL" userId="2d5b7065-31bb-4181-a7f8-a73bf0c30211" providerId="ADAL" clId="{287A013E-B4BE-485E-AE94-C2936752CD18}" dt="2020-09-30T13:41:09.543" v="102886"/>
          <ac:spMkLst>
            <pc:docMk/>
            <pc:sldMk cId="2951004223" sldId="263"/>
            <ac:spMk id="15" creationId="{B45014F7-5DE2-4717-849F-F49C261E97BA}"/>
          </ac:spMkLst>
        </pc:spChg>
        <pc:spChg chg="add del mod">
          <ac:chgData name="Ugo MANTEL" userId="2d5b7065-31bb-4181-a7f8-a73bf0c30211" providerId="ADAL" clId="{287A013E-B4BE-485E-AE94-C2936752CD18}" dt="2020-09-30T13:41:09.544" v="102888"/>
          <ac:spMkLst>
            <pc:docMk/>
            <pc:sldMk cId="2951004223" sldId="263"/>
            <ac:spMk id="16" creationId="{90DBB1BD-95F6-4442-A76E-DFC455646574}"/>
          </ac:spMkLst>
        </pc:spChg>
        <pc:spChg chg="add del mod">
          <ac:chgData name="Ugo MANTEL" userId="2d5b7065-31bb-4181-a7f8-a73bf0c30211" providerId="ADAL" clId="{287A013E-B4BE-485E-AE94-C2936752CD18}" dt="2020-09-30T13:41:09.544" v="102890"/>
          <ac:spMkLst>
            <pc:docMk/>
            <pc:sldMk cId="2951004223" sldId="263"/>
            <ac:spMk id="17" creationId="{B7304039-8201-4CFC-8C9F-FDA8063AF0D2}"/>
          </ac:spMkLst>
        </pc:spChg>
        <pc:spChg chg="add del mod">
          <ac:chgData name="Ugo MANTEL" userId="2d5b7065-31bb-4181-a7f8-a73bf0c30211" providerId="ADAL" clId="{287A013E-B4BE-485E-AE94-C2936752CD18}" dt="2020-09-30T13:41:09.545" v="102892"/>
          <ac:spMkLst>
            <pc:docMk/>
            <pc:sldMk cId="2951004223" sldId="263"/>
            <ac:spMk id="18" creationId="{B03D17C9-B11E-4D25-A757-B006B532882B}"/>
          </ac:spMkLst>
        </pc:spChg>
        <pc:spChg chg="add del mod">
          <ac:chgData name="Ugo MANTEL" userId="2d5b7065-31bb-4181-a7f8-a73bf0c30211" providerId="ADAL" clId="{287A013E-B4BE-485E-AE94-C2936752CD18}" dt="2020-09-30T13:41:09.545" v="102894"/>
          <ac:spMkLst>
            <pc:docMk/>
            <pc:sldMk cId="2951004223" sldId="263"/>
            <ac:spMk id="19" creationId="{C79F72A8-6B96-4292-9185-5BC19DC044EB}"/>
          </ac:spMkLst>
        </pc:spChg>
        <pc:spChg chg="add del mod">
          <ac:chgData name="Ugo MANTEL" userId="2d5b7065-31bb-4181-a7f8-a73bf0c30211" providerId="ADAL" clId="{287A013E-B4BE-485E-AE94-C2936752CD18}" dt="2020-09-30T13:41:09.546" v="102896"/>
          <ac:spMkLst>
            <pc:docMk/>
            <pc:sldMk cId="2951004223" sldId="263"/>
            <ac:spMk id="20" creationId="{BD19C81E-EFD7-4C10-9698-7180A25E7824}"/>
          </ac:spMkLst>
        </pc:spChg>
        <pc:spChg chg="add del mod">
          <ac:chgData name="Ugo MANTEL" userId="2d5b7065-31bb-4181-a7f8-a73bf0c30211" providerId="ADAL" clId="{287A013E-B4BE-485E-AE94-C2936752CD18}" dt="2020-09-30T13:41:09.547" v="102898"/>
          <ac:spMkLst>
            <pc:docMk/>
            <pc:sldMk cId="2951004223" sldId="263"/>
            <ac:spMk id="21" creationId="{C46378B2-79DA-419E-B223-EF1BF32CB9B1}"/>
          </ac:spMkLst>
        </pc:spChg>
        <pc:spChg chg="add del mod">
          <ac:chgData name="Ugo MANTEL" userId="2d5b7065-31bb-4181-a7f8-a73bf0c30211" providerId="ADAL" clId="{287A013E-B4BE-485E-AE94-C2936752CD18}" dt="2020-09-30T13:41:09.547" v="102900"/>
          <ac:spMkLst>
            <pc:docMk/>
            <pc:sldMk cId="2951004223" sldId="263"/>
            <ac:spMk id="22" creationId="{A238CE9A-16F9-46AB-9630-E7CF83F14201}"/>
          </ac:spMkLst>
        </pc:spChg>
        <pc:spChg chg="add del mod">
          <ac:chgData name="Ugo MANTEL" userId="2d5b7065-31bb-4181-a7f8-a73bf0c30211" providerId="ADAL" clId="{287A013E-B4BE-485E-AE94-C2936752CD18}" dt="2020-09-30T13:41:09.548" v="102902"/>
          <ac:spMkLst>
            <pc:docMk/>
            <pc:sldMk cId="2951004223" sldId="263"/>
            <ac:spMk id="23" creationId="{C85436B7-B133-4342-8761-59233FAA02A3}"/>
          </ac:spMkLst>
        </pc:spChg>
        <pc:spChg chg="add del mod">
          <ac:chgData name="Ugo MANTEL" userId="2d5b7065-31bb-4181-a7f8-a73bf0c30211" providerId="ADAL" clId="{287A013E-B4BE-485E-AE94-C2936752CD18}" dt="2020-09-30T13:41:09.549" v="102904"/>
          <ac:spMkLst>
            <pc:docMk/>
            <pc:sldMk cId="2951004223" sldId="263"/>
            <ac:spMk id="24" creationId="{72C0EA01-E057-4CA9-A9FA-4B40896FEDDE}"/>
          </ac:spMkLst>
        </pc:spChg>
        <pc:spChg chg="add del mod">
          <ac:chgData name="Ugo MANTEL" userId="2d5b7065-31bb-4181-a7f8-a73bf0c30211" providerId="ADAL" clId="{287A013E-B4BE-485E-AE94-C2936752CD18}" dt="2020-09-30T13:41:09.542" v="102881"/>
          <ac:spMkLst>
            <pc:docMk/>
            <pc:sldMk cId="2951004223" sldId="263"/>
            <ac:spMk id="31" creationId="{F19EC879-5855-41AB-9239-4ADFB4AE79AA}"/>
          </ac:spMkLst>
        </pc:spChg>
        <pc:spChg chg="add del mod">
          <ac:chgData name="Ugo MANTEL" userId="2d5b7065-31bb-4181-a7f8-a73bf0c30211" providerId="ADAL" clId="{287A013E-B4BE-485E-AE94-C2936752CD18}" dt="2020-09-30T13:41:09.542" v="102883"/>
          <ac:spMkLst>
            <pc:docMk/>
            <pc:sldMk cId="2951004223" sldId="263"/>
            <ac:spMk id="32" creationId="{5447D20F-F1B4-4138-B83A-6D757898D571}"/>
          </ac:spMkLst>
        </pc:spChg>
        <pc:spChg chg="add del mod">
          <ac:chgData name="Ugo MANTEL" userId="2d5b7065-31bb-4181-a7f8-a73bf0c30211" providerId="ADAL" clId="{287A013E-B4BE-485E-AE94-C2936752CD18}" dt="2020-09-30T13:41:09.543" v="102885"/>
          <ac:spMkLst>
            <pc:docMk/>
            <pc:sldMk cId="2951004223" sldId="263"/>
            <ac:spMk id="33" creationId="{5D616FDD-7A59-4589-926B-3664293D8E4C}"/>
          </ac:spMkLst>
        </pc:spChg>
        <pc:spChg chg="add del mod">
          <ac:chgData name="Ugo MANTEL" userId="2d5b7065-31bb-4181-a7f8-a73bf0c30211" providerId="ADAL" clId="{287A013E-B4BE-485E-AE94-C2936752CD18}" dt="2020-09-30T13:41:09.543" v="102887"/>
          <ac:spMkLst>
            <pc:docMk/>
            <pc:sldMk cId="2951004223" sldId="263"/>
            <ac:spMk id="34" creationId="{20BAA6E1-F300-4F67-AE61-E2E4179A0848}"/>
          </ac:spMkLst>
        </pc:spChg>
        <pc:spChg chg="add del mod">
          <ac:chgData name="Ugo MANTEL" userId="2d5b7065-31bb-4181-a7f8-a73bf0c30211" providerId="ADAL" clId="{287A013E-B4BE-485E-AE94-C2936752CD18}" dt="2020-09-30T13:41:09.544" v="102889"/>
          <ac:spMkLst>
            <pc:docMk/>
            <pc:sldMk cId="2951004223" sldId="263"/>
            <ac:spMk id="35" creationId="{EC454588-C065-47ED-898A-1F0B8927FEA3}"/>
          </ac:spMkLst>
        </pc:spChg>
        <pc:spChg chg="add del mod">
          <ac:chgData name="Ugo MANTEL" userId="2d5b7065-31bb-4181-a7f8-a73bf0c30211" providerId="ADAL" clId="{287A013E-B4BE-485E-AE94-C2936752CD18}" dt="2020-09-30T13:41:09.544" v="102891"/>
          <ac:spMkLst>
            <pc:docMk/>
            <pc:sldMk cId="2951004223" sldId="263"/>
            <ac:spMk id="36" creationId="{F3A01C91-1848-4849-94BF-618926E949FE}"/>
          </ac:spMkLst>
        </pc:spChg>
        <pc:spChg chg="add del mod">
          <ac:chgData name="Ugo MANTEL" userId="2d5b7065-31bb-4181-a7f8-a73bf0c30211" providerId="ADAL" clId="{287A013E-B4BE-485E-AE94-C2936752CD18}" dt="2020-09-30T13:41:09.545" v="102893"/>
          <ac:spMkLst>
            <pc:docMk/>
            <pc:sldMk cId="2951004223" sldId="263"/>
            <ac:spMk id="37" creationId="{6588ED75-A46E-40EB-8969-93D9EEC5F990}"/>
          </ac:spMkLst>
        </pc:spChg>
        <pc:spChg chg="add del mod">
          <ac:chgData name="Ugo MANTEL" userId="2d5b7065-31bb-4181-a7f8-a73bf0c30211" providerId="ADAL" clId="{287A013E-B4BE-485E-AE94-C2936752CD18}" dt="2020-09-30T13:41:09.545" v="102895"/>
          <ac:spMkLst>
            <pc:docMk/>
            <pc:sldMk cId="2951004223" sldId="263"/>
            <ac:spMk id="38" creationId="{86E97F10-7A83-4D84-A19E-675D3DA4D1A4}"/>
          </ac:spMkLst>
        </pc:spChg>
        <pc:spChg chg="add del mod">
          <ac:chgData name="Ugo MANTEL" userId="2d5b7065-31bb-4181-a7f8-a73bf0c30211" providerId="ADAL" clId="{287A013E-B4BE-485E-AE94-C2936752CD18}" dt="2020-09-30T13:41:09.546" v="102897"/>
          <ac:spMkLst>
            <pc:docMk/>
            <pc:sldMk cId="2951004223" sldId="263"/>
            <ac:spMk id="39" creationId="{6E99309D-F862-44F2-829E-98EA9EE323D0}"/>
          </ac:spMkLst>
        </pc:spChg>
        <pc:spChg chg="add del mod">
          <ac:chgData name="Ugo MANTEL" userId="2d5b7065-31bb-4181-a7f8-a73bf0c30211" providerId="ADAL" clId="{287A013E-B4BE-485E-AE94-C2936752CD18}" dt="2020-09-30T13:41:09.547" v="102899"/>
          <ac:spMkLst>
            <pc:docMk/>
            <pc:sldMk cId="2951004223" sldId="263"/>
            <ac:spMk id="40" creationId="{7C68DDC3-4214-4CA3-ACE9-46EA90166A93}"/>
          </ac:spMkLst>
        </pc:spChg>
        <pc:spChg chg="add del mod">
          <ac:chgData name="Ugo MANTEL" userId="2d5b7065-31bb-4181-a7f8-a73bf0c30211" providerId="ADAL" clId="{287A013E-B4BE-485E-AE94-C2936752CD18}" dt="2020-09-30T13:41:09.548" v="102901"/>
          <ac:spMkLst>
            <pc:docMk/>
            <pc:sldMk cId="2951004223" sldId="263"/>
            <ac:spMk id="41" creationId="{1C9D62CB-781B-4FD9-9222-DFCD25B4A86F}"/>
          </ac:spMkLst>
        </pc:spChg>
        <pc:spChg chg="add del mod">
          <ac:chgData name="Ugo MANTEL" userId="2d5b7065-31bb-4181-a7f8-a73bf0c30211" providerId="ADAL" clId="{287A013E-B4BE-485E-AE94-C2936752CD18}" dt="2020-09-30T13:41:09.548" v="102903"/>
          <ac:spMkLst>
            <pc:docMk/>
            <pc:sldMk cId="2951004223" sldId="263"/>
            <ac:spMk id="42" creationId="{7DE7F2DC-36BF-4615-B744-072B53D38D19}"/>
          </ac:spMkLst>
        </pc:spChg>
        <pc:spChg chg="add mod">
          <ac:chgData name="Ugo MANTEL" userId="2d5b7065-31bb-4181-a7f8-a73bf0c30211" providerId="ADAL" clId="{287A013E-B4BE-485E-AE94-C2936752CD18}" dt="2020-09-30T14:14:36.462" v="110110"/>
          <ac:spMkLst>
            <pc:docMk/>
            <pc:sldMk cId="2951004223" sldId="263"/>
            <ac:spMk id="43" creationId="{A9A0C130-CA17-448C-B406-947373E76974}"/>
          </ac:spMkLst>
        </pc:spChg>
        <pc:spChg chg="add mod">
          <ac:chgData name="Ugo MANTEL" userId="2d5b7065-31bb-4181-a7f8-a73bf0c30211" providerId="ADAL" clId="{287A013E-B4BE-485E-AE94-C2936752CD18}" dt="2020-09-30T14:14:36.461" v="110106"/>
          <ac:spMkLst>
            <pc:docMk/>
            <pc:sldMk cId="2951004223" sldId="263"/>
            <ac:spMk id="44" creationId="{FDD0A22E-D044-4738-A846-D69DD4EC1C73}"/>
          </ac:spMkLst>
        </pc:spChg>
        <pc:spChg chg="add mod">
          <ac:chgData name="Ugo MANTEL" userId="2d5b7065-31bb-4181-a7f8-a73bf0c30211" providerId="ADAL" clId="{287A013E-B4BE-485E-AE94-C2936752CD18}" dt="2020-09-30T14:14:36.462" v="110111"/>
          <ac:spMkLst>
            <pc:docMk/>
            <pc:sldMk cId="2951004223" sldId="263"/>
            <ac:spMk id="45" creationId="{5656A40E-94D2-4D19-9FCB-B644FC3F1A54}"/>
          </ac:spMkLst>
        </pc:spChg>
        <pc:spChg chg="add mod">
          <ac:chgData name="Ugo MANTEL" userId="2d5b7065-31bb-4181-a7f8-a73bf0c30211" providerId="ADAL" clId="{287A013E-B4BE-485E-AE94-C2936752CD18}" dt="2020-09-30T14:14:36.463" v="110113"/>
          <ac:spMkLst>
            <pc:docMk/>
            <pc:sldMk cId="2951004223" sldId="263"/>
            <ac:spMk id="46" creationId="{46B3103C-B011-4050-9308-7682C2786A94}"/>
          </ac:spMkLst>
        </pc:spChg>
        <pc:spChg chg="add mod">
          <ac:chgData name="Ugo MANTEL" userId="2d5b7065-31bb-4181-a7f8-a73bf0c30211" providerId="ADAL" clId="{287A013E-B4BE-485E-AE94-C2936752CD18}" dt="2020-09-30T14:14:36.463" v="110112"/>
          <ac:spMkLst>
            <pc:docMk/>
            <pc:sldMk cId="2951004223" sldId="263"/>
            <ac:spMk id="47" creationId="{6D559518-E8C1-46B8-9B52-9036FEE0B55E}"/>
          </ac:spMkLst>
        </pc:spChg>
        <pc:spChg chg="add mod">
          <ac:chgData name="Ugo MANTEL" userId="2d5b7065-31bb-4181-a7f8-a73bf0c30211" providerId="ADAL" clId="{287A013E-B4BE-485E-AE94-C2936752CD18}" dt="2020-09-30T14:14:36.464" v="110115"/>
          <ac:spMkLst>
            <pc:docMk/>
            <pc:sldMk cId="2951004223" sldId="263"/>
            <ac:spMk id="48" creationId="{8C66A17F-8A18-4E0C-B25E-892F3E969D94}"/>
          </ac:spMkLst>
        </pc:spChg>
        <pc:spChg chg="add del mod">
          <ac:chgData name="Ugo MANTEL" userId="2d5b7065-31bb-4181-a7f8-a73bf0c30211" providerId="ADAL" clId="{287A013E-B4BE-485E-AE94-C2936752CD18}" dt="2020-09-30T13:41:10.982" v="102959"/>
          <ac:spMkLst>
            <pc:docMk/>
            <pc:sldMk cId="2951004223" sldId="263"/>
            <ac:spMk id="49" creationId="{94DAA5F2-BD56-493E-BE85-14952B60D944}"/>
          </ac:spMkLst>
        </pc:spChg>
        <pc:spChg chg="add del mod">
          <ac:chgData name="Ugo MANTEL" userId="2d5b7065-31bb-4181-a7f8-a73bf0c30211" providerId="ADAL" clId="{287A013E-B4BE-485E-AE94-C2936752CD18}" dt="2020-09-30T13:41:10.982" v="102960"/>
          <ac:spMkLst>
            <pc:docMk/>
            <pc:sldMk cId="2951004223" sldId="263"/>
            <ac:spMk id="50" creationId="{8E731226-AD1E-4B26-971F-663F1FD96A4C}"/>
          </ac:spMkLst>
        </pc:spChg>
        <pc:spChg chg="add del mod ord">
          <ac:chgData name="Ugo MANTEL" userId="2d5b7065-31bb-4181-a7f8-a73bf0c30211" providerId="ADAL" clId="{287A013E-B4BE-485E-AE94-C2936752CD18}" dt="2020-09-30T13:41:02.647" v="102804"/>
          <ac:spMkLst>
            <pc:docMk/>
            <pc:sldMk cId="2951004223" sldId="263"/>
            <ac:spMk id="51" creationId="{D95C8961-4F5E-4A76-83D7-FF4520EB5045}"/>
          </ac:spMkLst>
        </pc:spChg>
        <pc:spChg chg="add del mod">
          <ac:chgData name="Ugo MANTEL" userId="2d5b7065-31bb-4181-a7f8-a73bf0c30211" providerId="ADAL" clId="{287A013E-B4BE-485E-AE94-C2936752CD18}" dt="2020-09-30T13:44:09.991" v="103280"/>
          <ac:spMkLst>
            <pc:docMk/>
            <pc:sldMk cId="2951004223" sldId="263"/>
            <ac:spMk id="63" creationId="{1BC54151-2EEF-49BA-94C1-CB437CEF3BC5}"/>
          </ac:spMkLst>
        </pc:spChg>
        <pc:spChg chg="add mod ord">
          <ac:chgData name="Ugo MANTEL" userId="2d5b7065-31bb-4181-a7f8-a73bf0c30211" providerId="ADAL" clId="{287A013E-B4BE-485E-AE94-C2936752CD18}" dt="2020-09-30T13:44:17.666" v="103546"/>
          <ac:spMkLst>
            <pc:docMk/>
            <pc:sldMk cId="2951004223" sldId="263"/>
            <ac:spMk id="66" creationId="{A9028FF6-F2EA-440D-90E3-E406BF42BF0C}"/>
          </ac:spMkLst>
        </pc:spChg>
        <pc:spChg chg="add del mod ord">
          <ac:chgData name="Ugo MANTEL" userId="2d5b7065-31bb-4181-a7f8-a73bf0c30211" providerId="ADAL" clId="{287A013E-B4BE-485E-AE94-C2936752CD18}" dt="2020-09-30T13:44:57.051" v="105372"/>
          <ac:spMkLst>
            <pc:docMk/>
            <pc:sldMk cId="2951004223" sldId="263"/>
            <ac:spMk id="71" creationId="{33C916FD-2012-4A90-A4DD-692F745EF78B}"/>
          </ac:spMkLst>
        </pc:spChg>
        <pc:spChg chg="add del mod ord">
          <ac:chgData name="Ugo MANTEL" userId="2d5b7065-31bb-4181-a7f8-a73bf0c30211" providerId="ADAL" clId="{287A013E-B4BE-485E-AE94-C2936752CD18}" dt="2020-09-30T13:44:58.484" v="105428"/>
          <ac:spMkLst>
            <pc:docMk/>
            <pc:sldMk cId="2951004223" sldId="263"/>
            <ac:spMk id="76" creationId="{1FD77B96-6BB6-4BFB-AC6C-BA2FEE4D388D}"/>
          </ac:spMkLst>
        </pc:spChg>
        <pc:spChg chg="add mod ord">
          <ac:chgData name="Ugo MANTEL" userId="2d5b7065-31bb-4181-a7f8-a73bf0c30211" providerId="ADAL" clId="{287A013E-B4BE-485E-AE94-C2936752CD18}" dt="2020-09-30T14:14:36.466" v="110124"/>
          <ac:spMkLst>
            <pc:docMk/>
            <pc:sldMk cId="2951004223" sldId="263"/>
            <ac:spMk id="83" creationId="{B88B1108-0092-4AF0-9274-78C36552DF38}"/>
          </ac:spMkLst>
        </pc:spChg>
        <pc:spChg chg="add mod ord">
          <ac:chgData name="Ugo MANTEL" userId="2d5b7065-31bb-4181-a7f8-a73bf0c30211" providerId="ADAL" clId="{287A013E-B4BE-485E-AE94-C2936752CD18}" dt="2020-09-30T14:14:36.469" v="110130"/>
          <ac:spMkLst>
            <pc:docMk/>
            <pc:sldMk cId="2951004223" sldId="263"/>
            <ac:spMk id="93" creationId="{C7A85204-D779-4BC9-8681-F532B6318218}"/>
          </ac:spMkLst>
        </pc:spChg>
        <pc:spChg chg="add mod">
          <ac:chgData name="Ugo MANTEL" userId="2d5b7065-31bb-4181-a7f8-a73bf0c30211" providerId="ADAL" clId="{287A013E-B4BE-485E-AE94-C2936752CD18}" dt="2020-09-30T14:14:36.463" v="110114"/>
          <ac:spMkLst>
            <pc:docMk/>
            <pc:sldMk cId="2951004223" sldId="263"/>
            <ac:spMk id="96" creationId="{96ACD372-FEF3-47D1-B300-A297F400E38C}"/>
          </ac:spMkLst>
        </pc:spChg>
        <pc:spChg chg="add mod">
          <ac:chgData name="Ugo MANTEL" userId="2d5b7065-31bb-4181-a7f8-a73bf0c30211" providerId="ADAL" clId="{287A013E-B4BE-485E-AE94-C2936752CD18}" dt="2020-09-30T14:14:36.464" v="110116"/>
          <ac:spMkLst>
            <pc:docMk/>
            <pc:sldMk cId="2951004223" sldId="263"/>
            <ac:spMk id="98" creationId="{1DE28F63-AB22-4CC0-A2FB-42770F0DA4C5}"/>
          </ac:spMkLst>
        </pc:spChg>
        <pc:spChg chg="add mod">
          <ac:chgData name="Ugo MANTEL" userId="2d5b7065-31bb-4181-a7f8-a73bf0c30211" providerId="ADAL" clId="{287A013E-B4BE-485E-AE94-C2936752CD18}" dt="2020-09-30T14:14:36.464" v="110117"/>
          <ac:spMkLst>
            <pc:docMk/>
            <pc:sldMk cId="2951004223" sldId="263"/>
            <ac:spMk id="99" creationId="{B7012B39-405B-48CB-AB07-FC31E3EAF9AA}"/>
          </ac:spMkLst>
        </pc:spChg>
        <pc:spChg chg="add mod">
          <ac:chgData name="Ugo MANTEL" userId="2d5b7065-31bb-4181-a7f8-a73bf0c30211" providerId="ADAL" clId="{287A013E-B4BE-485E-AE94-C2936752CD18}" dt="2020-09-30T14:14:36.460" v="110105"/>
          <ac:spMkLst>
            <pc:docMk/>
            <pc:sldMk cId="2951004223" sldId="263"/>
            <ac:spMk id="100" creationId="{BD03CE83-5B80-4222-9DF4-8B8CDD6253FD}"/>
          </ac:spMkLst>
        </pc:spChg>
        <pc:spChg chg="add mod">
          <ac:chgData name="Ugo MANTEL" userId="2d5b7065-31bb-4181-a7f8-a73bf0c30211" providerId="ADAL" clId="{287A013E-B4BE-485E-AE94-C2936752CD18}" dt="2020-09-30T14:14:36.464" v="110118"/>
          <ac:spMkLst>
            <pc:docMk/>
            <pc:sldMk cId="2951004223" sldId="263"/>
            <ac:spMk id="101" creationId="{DE44398E-CA7D-423C-B470-AEEC17B9CEF1}"/>
          </ac:spMkLst>
        </pc:spChg>
        <pc:spChg chg="add mod">
          <ac:chgData name="Ugo MANTEL" userId="2d5b7065-31bb-4181-a7f8-a73bf0c30211" providerId="ADAL" clId="{287A013E-B4BE-485E-AE94-C2936752CD18}" dt="2020-09-30T14:14:36.465" v="110119"/>
          <ac:spMkLst>
            <pc:docMk/>
            <pc:sldMk cId="2951004223" sldId="263"/>
            <ac:spMk id="102" creationId="{41BAEDB9-ABF1-40DF-B0EE-8DAE21411DCE}"/>
          </ac:spMkLst>
        </pc:spChg>
        <pc:spChg chg="add mod">
          <ac:chgData name="Ugo MANTEL" userId="2d5b7065-31bb-4181-a7f8-a73bf0c30211" providerId="ADAL" clId="{287A013E-B4BE-485E-AE94-C2936752CD18}" dt="2020-09-30T14:14:36.465" v="110120"/>
          <ac:spMkLst>
            <pc:docMk/>
            <pc:sldMk cId="2951004223" sldId="263"/>
            <ac:spMk id="103" creationId="{19BD0584-735D-43A7-B72F-9CD40765384D}"/>
          </ac:spMkLst>
        </pc:spChg>
        <pc:spChg chg="add mod">
          <ac:chgData name="Ugo MANTEL" userId="2d5b7065-31bb-4181-a7f8-a73bf0c30211" providerId="ADAL" clId="{287A013E-B4BE-485E-AE94-C2936752CD18}" dt="2020-09-30T14:14:36.465" v="110121"/>
          <ac:spMkLst>
            <pc:docMk/>
            <pc:sldMk cId="2951004223" sldId="263"/>
            <ac:spMk id="104" creationId="{ACB2F137-2C20-476F-8A5F-CB5C1DB3BABB}"/>
          </ac:spMkLst>
        </pc:spChg>
        <pc:spChg chg="add mod">
          <ac:chgData name="Ugo MANTEL" userId="2d5b7065-31bb-4181-a7f8-a73bf0c30211" providerId="ADAL" clId="{287A013E-B4BE-485E-AE94-C2936752CD18}" dt="2020-09-30T14:14:36.466" v="110122"/>
          <ac:spMkLst>
            <pc:docMk/>
            <pc:sldMk cId="2951004223" sldId="263"/>
            <ac:spMk id="105" creationId="{F05CE6D0-53F8-4866-BBE8-08E714873EDF}"/>
          </ac:spMkLst>
        </pc:spChg>
        <pc:spChg chg="add mod ord">
          <ac:chgData name="Ugo MANTEL" userId="2d5b7065-31bb-4181-a7f8-a73bf0c30211" providerId="ADAL" clId="{287A013E-B4BE-485E-AE94-C2936752CD18}" dt="2020-09-30T14:14:36.467" v="110126"/>
          <ac:spMkLst>
            <pc:docMk/>
            <pc:sldMk cId="2951004223" sldId="263"/>
            <ac:spMk id="120" creationId="{ACC55E45-D91A-4E5A-B55D-CC1C31EE3885}"/>
          </ac:spMkLst>
        </pc:spChg>
        <pc:spChg chg="add mod ord">
          <ac:chgData name="Ugo MANTEL" userId="2d5b7065-31bb-4181-a7f8-a73bf0c30211" providerId="ADAL" clId="{287A013E-B4BE-485E-AE94-C2936752CD18}" dt="2020-09-30T14:14:36.468" v="110128"/>
          <ac:spMkLst>
            <pc:docMk/>
            <pc:sldMk cId="2951004223" sldId="263"/>
            <ac:spMk id="125" creationId="{D4489E23-9F70-4A58-BC89-401B9D993A86}"/>
          </ac:spMkLst>
        </pc:spChg>
        <pc:spChg chg="add mod ord">
          <ac:chgData name="Ugo MANTEL" userId="2d5b7065-31bb-4181-a7f8-a73bf0c30211" providerId="ADAL" clId="{287A013E-B4BE-485E-AE94-C2936752CD18}" dt="2020-09-30T14:14:36.470" v="110132"/>
          <ac:spMkLst>
            <pc:docMk/>
            <pc:sldMk cId="2951004223" sldId="263"/>
            <ac:spMk id="130" creationId="{FF45CDC5-AEFC-4177-BDED-9F577489C7DE}"/>
          </ac:spMkLst>
        </pc:spChg>
        <pc:spChg chg="add mod">
          <ac:chgData name="Ugo MANTEL" userId="2d5b7065-31bb-4181-a7f8-a73bf0c30211" providerId="ADAL" clId="{287A013E-B4BE-485E-AE94-C2936752CD18}" dt="2020-09-30T14:16:44.382" v="110143" actId="20577"/>
          <ac:spMkLst>
            <pc:docMk/>
            <pc:sldMk cId="2951004223" sldId="263"/>
            <ac:spMk id="148" creationId="{166C2580-7BC9-484F-8D0C-7A9FD06E5F01}"/>
          </ac:spMkLst>
        </pc:spChg>
        <pc:graphicFrameChg chg="add del mod ord">
          <ac:chgData name="Ugo MANTEL" userId="2d5b7065-31bb-4181-a7f8-a73bf0c30211" providerId="ADAL" clId="{287A013E-B4BE-485E-AE94-C2936752CD18}" dt="2020-09-30T13:40:47.952" v="101983"/>
          <ac:graphicFrameMkLst>
            <pc:docMk/>
            <pc:sldMk cId="2951004223" sldId="263"/>
            <ac:graphicFrameMk id="9" creationId="{5E7E84C7-3CA5-42B5-B63B-5322E9289ADD}"/>
          </ac:graphicFrameMkLst>
        </pc:graphicFrameChg>
        <pc:graphicFrameChg chg="add mod ord modVis">
          <ac:chgData name="Ugo MANTEL" userId="2d5b7065-31bb-4181-a7f8-a73bf0c30211" providerId="ADAL" clId="{287A013E-B4BE-485E-AE94-C2936752CD18}" dt="2020-09-30T14:14:36.474" v="110134"/>
          <ac:graphicFrameMkLst>
            <pc:docMk/>
            <pc:sldMk cId="2951004223" sldId="263"/>
            <ac:graphicFrameMk id="12" creationId="{D08690BD-9494-496C-A56C-12FDCA69AC2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0:58.390" v="102631"/>
          <ac:graphicFrameMkLst>
            <pc:docMk/>
            <pc:sldMk cId="2951004223" sldId="263"/>
            <ac:graphicFrameMk id="30" creationId="{53F4DDBF-13D7-4ED3-A8FC-06377BBB97B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1:02.651" v="102806"/>
          <ac:graphicFrameMkLst>
            <pc:docMk/>
            <pc:sldMk cId="2951004223" sldId="263"/>
            <ac:graphicFrameMk id="54" creationId="{DA9018A4-9A23-4988-BDE0-1118D95DB5B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1:09.571" v="102930"/>
          <ac:graphicFrameMkLst>
            <pc:docMk/>
            <pc:sldMk cId="2951004223" sldId="263"/>
            <ac:graphicFrameMk id="57" creationId="{C88BE9C4-DD1C-48B9-BB54-ABCEAB91FD7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1:10.998" v="102980"/>
          <ac:graphicFrameMkLst>
            <pc:docMk/>
            <pc:sldMk cId="2951004223" sldId="263"/>
            <ac:graphicFrameMk id="58" creationId="{24830EB8-046D-45AD-8D59-A5936959B13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1:14.311" v="103029"/>
          <ac:graphicFrameMkLst>
            <pc:docMk/>
            <pc:sldMk cId="2951004223" sldId="263"/>
            <ac:graphicFrameMk id="59" creationId="{8AFE0B75-1A15-4198-9D9F-64DA027E249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1:19.352" v="103095"/>
          <ac:graphicFrameMkLst>
            <pc:docMk/>
            <pc:sldMk cId="2951004223" sldId="263"/>
            <ac:graphicFrameMk id="60" creationId="{E77FC92D-FF5C-4587-9526-DBD7B74ABC5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1:21.073" v="103159"/>
          <ac:graphicFrameMkLst>
            <pc:docMk/>
            <pc:sldMk cId="2951004223" sldId="263"/>
            <ac:graphicFrameMk id="61" creationId="{031C5FC6-A0B7-4939-8C7D-6840312F4EF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4:07.239" v="103252"/>
          <ac:graphicFrameMkLst>
            <pc:docMk/>
            <pc:sldMk cId="2951004223" sldId="263"/>
            <ac:graphicFrameMk id="62" creationId="{38506BC4-9A72-4518-A6AE-D5D270823B1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4:09.994" v="103282"/>
          <ac:graphicFrameMkLst>
            <pc:docMk/>
            <pc:sldMk cId="2951004223" sldId="263"/>
            <ac:graphicFrameMk id="64" creationId="{3334FBF9-3CAC-4500-BE43-BFB599DC695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4:22.802" v="103869"/>
          <ac:graphicFrameMkLst>
            <pc:docMk/>
            <pc:sldMk cId="2951004223" sldId="263"/>
            <ac:graphicFrameMk id="65" creationId="{6122616F-EAA9-473B-82A6-31F95820DFC9}"/>
          </ac:graphicFrameMkLst>
        </pc:graphicFrameChg>
        <pc:graphicFrameChg chg="add mod ord">
          <ac:chgData name="Ugo MANTEL" userId="2d5b7065-31bb-4181-a7f8-a73bf0c30211" providerId="ADAL" clId="{287A013E-B4BE-485E-AE94-C2936752CD18}" dt="2020-09-30T13:44:17.666" v="103546"/>
          <ac:graphicFrameMkLst>
            <pc:docMk/>
            <pc:sldMk cId="2951004223" sldId="263"/>
            <ac:graphicFrameMk id="70" creationId="{614BFB21-2B18-45E7-A21C-9EF031CF2E2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4:25.437" v="104005"/>
          <ac:graphicFrameMkLst>
            <pc:docMk/>
            <pc:sldMk cId="2951004223" sldId="263"/>
            <ac:graphicFrameMk id="75" creationId="{1112BD26-551F-4F3F-9588-B0349FA622F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4:41.515" v="105000"/>
          <ac:graphicFrameMkLst>
            <pc:docMk/>
            <pc:sldMk cId="2951004223" sldId="263"/>
            <ac:graphicFrameMk id="80" creationId="{8D7B2010-B34F-45D0-A150-1137D10D04C3}"/>
          </ac:graphicFrameMkLst>
        </pc:graphicFrameChg>
        <pc:graphicFrameChg chg="add mod ord">
          <ac:chgData name="Ugo MANTEL" userId="2d5b7065-31bb-4181-a7f8-a73bf0c30211" providerId="ADAL" clId="{287A013E-B4BE-485E-AE94-C2936752CD18}" dt="2020-09-30T13:44:31.933" v="104240"/>
          <ac:graphicFrameMkLst>
            <pc:docMk/>
            <pc:sldMk cId="2951004223" sldId="263"/>
            <ac:graphicFrameMk id="81" creationId="{E3169207-32BB-40E5-B7E6-C57803C3A193}"/>
          </ac:graphicFrameMkLst>
        </pc:graphicFrameChg>
        <pc:graphicFrameChg chg="add mod ord">
          <ac:chgData name="Ugo MANTEL" userId="2d5b7065-31bb-4181-a7f8-a73bf0c30211" providerId="ADAL" clId="{287A013E-B4BE-485E-AE94-C2936752CD18}" dt="2020-09-30T13:44:36.025" v="104657"/>
          <ac:graphicFrameMkLst>
            <pc:docMk/>
            <pc:sldMk cId="2951004223" sldId="263"/>
            <ac:graphicFrameMk id="82" creationId="{357A247F-9C70-4B70-9A9E-4B8CF0BD456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4:44.853" v="105164"/>
          <ac:graphicFrameMkLst>
            <pc:docMk/>
            <pc:sldMk cId="2951004223" sldId="263"/>
            <ac:graphicFrameMk id="85" creationId="{9DFDFD1E-5185-4187-A7F6-664AFB5AD8C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4:48.780" v="105241"/>
          <ac:graphicFrameMkLst>
            <pc:docMk/>
            <pc:sldMk cId="2951004223" sldId="263"/>
            <ac:graphicFrameMk id="86" creationId="{EFD1D1C6-E581-4AB5-A0D0-0D365BFB3A0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4:55.069" v="105318"/>
          <ac:graphicFrameMkLst>
            <pc:docMk/>
            <pc:sldMk cId="2951004223" sldId="263"/>
            <ac:graphicFrameMk id="87" creationId="{A10A4D9A-F974-4972-920A-4F2D80E1BF6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4:57.063" v="105382"/>
          <ac:graphicFrameMkLst>
            <pc:docMk/>
            <pc:sldMk cId="2951004223" sldId="263"/>
            <ac:graphicFrameMk id="88" creationId="{0D87B7E5-BA1A-49C2-BBAE-6C7690096C1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4:58.493" v="105430"/>
          <ac:graphicFrameMkLst>
            <pc:docMk/>
            <pc:sldMk cId="2951004223" sldId="263"/>
            <ac:graphicFrameMk id="89" creationId="{F9B84CDD-F294-4869-9F07-202B2B0E006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5:57.696" v="105579"/>
          <ac:graphicFrameMkLst>
            <pc:docMk/>
            <pc:sldMk cId="2951004223" sldId="263"/>
            <ac:graphicFrameMk id="90" creationId="{230B052E-73D8-41DE-9A04-575996A5FA1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6:09.270" v="105627"/>
          <ac:graphicFrameMkLst>
            <pc:docMk/>
            <pc:sldMk cId="2951004223" sldId="263"/>
            <ac:graphicFrameMk id="91" creationId="{0F362B7C-1C96-4814-8A5E-9890E71215D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6:12.867" v="105750"/>
          <ac:graphicFrameMkLst>
            <pc:docMk/>
            <pc:sldMk cId="2951004223" sldId="263"/>
            <ac:graphicFrameMk id="92" creationId="{5E87B297-E2B3-4346-AD6A-A5109DA807F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6:15.527" v="105860"/>
          <ac:graphicFrameMkLst>
            <pc:docMk/>
            <pc:sldMk cId="2951004223" sldId="263"/>
            <ac:graphicFrameMk id="95" creationId="{4C66CADD-340B-4660-9629-50A8995045C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6:21.667" v="106727"/>
          <ac:graphicFrameMkLst>
            <pc:docMk/>
            <pc:sldMk cId="2951004223" sldId="263"/>
            <ac:graphicFrameMk id="97" creationId="{3D67091E-0FA6-4A2E-8E5C-28A67A3D103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6:23.108" v="106772"/>
          <ac:graphicFrameMkLst>
            <pc:docMk/>
            <pc:sldMk cId="2951004223" sldId="263"/>
            <ac:graphicFrameMk id="106" creationId="{D2988B30-2C47-435C-B2EC-DB8846AE072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6:28.924" v="106876"/>
          <ac:graphicFrameMkLst>
            <pc:docMk/>
            <pc:sldMk cId="2951004223" sldId="263"/>
            <ac:graphicFrameMk id="107" creationId="{BF7DB08A-38BA-4AE2-AC08-D5B9521C500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6:58.842" v="106921"/>
          <ac:graphicFrameMkLst>
            <pc:docMk/>
            <pc:sldMk cId="2951004223" sldId="263"/>
            <ac:graphicFrameMk id="108" creationId="{7D8DF771-374B-47D4-84F5-0FD18609713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7:02.022" v="106966"/>
          <ac:graphicFrameMkLst>
            <pc:docMk/>
            <pc:sldMk cId="2951004223" sldId="263"/>
            <ac:graphicFrameMk id="109" creationId="{97D8CA5E-2852-4418-A6A6-B2987FAAC28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7:06.279" v="107011"/>
          <ac:graphicFrameMkLst>
            <pc:docMk/>
            <pc:sldMk cId="2951004223" sldId="263"/>
            <ac:graphicFrameMk id="110" creationId="{BC15072C-2AF6-4415-8D73-BD9005E3D946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7:19.222" v="107056"/>
          <ac:graphicFrameMkLst>
            <pc:docMk/>
            <pc:sldMk cId="2951004223" sldId="263"/>
            <ac:graphicFrameMk id="111" creationId="{33BED6AD-783F-405B-AE6B-323964263A3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47:25.010" v="107101"/>
          <ac:graphicFrameMkLst>
            <pc:docMk/>
            <pc:sldMk cId="2951004223" sldId="263"/>
            <ac:graphicFrameMk id="112" creationId="{32A8D427-665D-424C-9936-FE793AD12652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51:11.565" v="107148"/>
          <ac:graphicFrameMkLst>
            <pc:docMk/>
            <pc:sldMk cId="2951004223" sldId="263"/>
            <ac:graphicFrameMk id="113" creationId="{D2C2CF77-035C-4E65-9CAC-D02CD01012C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58:22.778" v="107769"/>
          <ac:graphicFrameMkLst>
            <pc:docMk/>
            <pc:sldMk cId="2951004223" sldId="263"/>
            <ac:graphicFrameMk id="114" creationId="{1E87C9BF-69EA-4217-9629-75791100693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51:23.513" v="107579"/>
          <ac:graphicFrameMkLst>
            <pc:docMk/>
            <pc:sldMk cId="2951004223" sldId="263"/>
            <ac:graphicFrameMk id="115" creationId="{72B058D9-5B15-40C3-A2CE-D4AE02D22C3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51:23.513" v="107579"/>
          <ac:graphicFrameMkLst>
            <pc:docMk/>
            <pc:sldMk cId="2951004223" sldId="263"/>
            <ac:graphicFrameMk id="116" creationId="{853C3E1C-35BE-4533-B3CF-1E818350E99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51:22.356" v="107540"/>
          <ac:graphicFrameMkLst>
            <pc:docMk/>
            <pc:sldMk cId="2951004223" sldId="263"/>
            <ac:graphicFrameMk id="117" creationId="{D0BC1818-FEC3-485E-A32C-E34D39154F7C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51:22.054" v="107524"/>
          <ac:graphicFrameMkLst>
            <pc:docMk/>
            <pc:sldMk cId="2951004223" sldId="263"/>
            <ac:graphicFrameMk id="118" creationId="{D819FAD4-2A2B-487C-B751-26E3B6BA87CE}"/>
          </ac:graphicFrameMkLst>
        </pc:graphicFrameChg>
        <pc:graphicFrameChg chg="add mod ord">
          <ac:chgData name="Ugo MANTEL" userId="2d5b7065-31bb-4181-a7f8-a73bf0c30211" providerId="ADAL" clId="{287A013E-B4BE-485E-AE94-C2936752CD18}" dt="2020-09-30T13:51:22.054" v="107524"/>
          <ac:graphicFrameMkLst>
            <pc:docMk/>
            <pc:sldMk cId="2951004223" sldId="263"/>
            <ac:graphicFrameMk id="119" creationId="{CD913FF7-D588-489A-8F01-23B3C8C3B52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3:59:00.933" v="107934"/>
          <ac:graphicFrameMkLst>
            <pc:docMk/>
            <pc:sldMk cId="2951004223" sldId="263"/>
            <ac:graphicFrameMk id="124" creationId="{F90BD7A9-F9E0-45E8-93BD-76DBCE9FD473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05:17.157" v="108148"/>
          <ac:graphicFrameMkLst>
            <pc:docMk/>
            <pc:sldMk cId="2951004223" sldId="263"/>
            <ac:graphicFrameMk id="129" creationId="{F1EDE28F-A9C8-4E5C-8B20-45DECD2A457B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05:32.517" v="108212"/>
          <ac:graphicFrameMkLst>
            <pc:docMk/>
            <pc:sldMk cId="2951004223" sldId="263"/>
            <ac:graphicFrameMk id="131" creationId="{9A4AEEDD-6895-48D9-B0BB-42EF87EE3D6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05:35.305" v="108295"/>
          <ac:graphicFrameMkLst>
            <pc:docMk/>
            <pc:sldMk cId="2951004223" sldId="263"/>
            <ac:graphicFrameMk id="132" creationId="{3DF5A3F2-3AD4-4B48-BB65-FA7D3BA6258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05:38.081" v="108358"/>
          <ac:graphicFrameMkLst>
            <pc:docMk/>
            <pc:sldMk cId="2951004223" sldId="263"/>
            <ac:graphicFrameMk id="133" creationId="{D0EDDF91-E27D-45FE-9C53-165AA4755BF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05:46.559" v="108613"/>
          <ac:graphicFrameMkLst>
            <pc:docMk/>
            <pc:sldMk cId="2951004223" sldId="263"/>
            <ac:graphicFrameMk id="134" creationId="{F21D2E29-197A-4851-8535-10455DA7365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05:56.652" v="108689"/>
          <ac:graphicFrameMkLst>
            <pc:docMk/>
            <pc:sldMk cId="2951004223" sldId="263"/>
            <ac:graphicFrameMk id="135" creationId="{AA9A0AB7-F08C-4D2C-B048-2C03C00D4919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06:03.571" v="108858"/>
          <ac:graphicFrameMkLst>
            <pc:docMk/>
            <pc:sldMk cId="2951004223" sldId="263"/>
            <ac:graphicFrameMk id="136" creationId="{7B597DAC-9A5C-4E96-9DAB-BB8BF863119E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06:09.369" v="108995"/>
          <ac:graphicFrameMkLst>
            <pc:docMk/>
            <pc:sldMk cId="2951004223" sldId="263"/>
            <ac:graphicFrameMk id="137" creationId="{5ACB3C3F-B005-4744-9DFD-DFE8FD01B8D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06:17.265" v="109109"/>
          <ac:graphicFrameMkLst>
            <pc:docMk/>
            <pc:sldMk cId="2951004223" sldId="263"/>
            <ac:graphicFrameMk id="138" creationId="{5AE9F0F0-5B90-4264-88D1-61DB78A5B98A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06:22.594" v="109222"/>
          <ac:graphicFrameMkLst>
            <pc:docMk/>
            <pc:sldMk cId="2951004223" sldId="263"/>
            <ac:graphicFrameMk id="139" creationId="{073BFECF-BE7C-4184-9A71-8F2A4DA4F31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06:24.611" v="109324"/>
          <ac:graphicFrameMkLst>
            <pc:docMk/>
            <pc:sldMk cId="2951004223" sldId="263"/>
            <ac:graphicFrameMk id="140" creationId="{D02FFCEB-D49C-498A-939E-D9CB29DCC8C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06:25.215" v="109426"/>
          <ac:graphicFrameMkLst>
            <pc:docMk/>
            <pc:sldMk cId="2951004223" sldId="263"/>
            <ac:graphicFrameMk id="141" creationId="{43F5DC5E-4513-42FD-A1FF-1A3744E62291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06:39.210" v="109573"/>
          <ac:graphicFrameMkLst>
            <pc:docMk/>
            <pc:sldMk cId="2951004223" sldId="263"/>
            <ac:graphicFrameMk id="142" creationId="{58E294AF-665C-464B-9679-6DCC95C41D7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07:04.822" v="109717"/>
          <ac:graphicFrameMkLst>
            <pc:docMk/>
            <pc:sldMk cId="2951004223" sldId="263"/>
            <ac:graphicFrameMk id="143" creationId="{FE150C9F-DA3C-478A-AF9E-58C5A2F480D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07:08.758" v="109860"/>
          <ac:graphicFrameMkLst>
            <pc:docMk/>
            <pc:sldMk cId="2951004223" sldId="263"/>
            <ac:graphicFrameMk id="144" creationId="{8FE542FF-970B-41E3-A1E9-F0479F9CF36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14:29.132" v="109980"/>
          <ac:graphicFrameMkLst>
            <pc:docMk/>
            <pc:sldMk cId="2951004223" sldId="263"/>
            <ac:graphicFrameMk id="145" creationId="{E839DBE8-60CA-441A-9CB1-043EC8902DB8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14:36.434" v="110075"/>
          <ac:graphicFrameMkLst>
            <pc:docMk/>
            <pc:sldMk cId="2951004223" sldId="263"/>
            <ac:graphicFrameMk id="146" creationId="{B5B87D37-1F69-4EA1-BCF5-9A9FDE9CCCFC}"/>
          </ac:graphicFrameMkLst>
        </pc:graphicFrameChg>
        <pc:graphicFrameChg chg="add mod ord">
          <ac:chgData name="Ugo MANTEL" userId="2d5b7065-31bb-4181-a7f8-a73bf0c30211" providerId="ADAL" clId="{287A013E-B4BE-485E-AE94-C2936752CD18}" dt="2020-09-30T14:14:36.452" v="110088"/>
          <ac:graphicFrameMkLst>
            <pc:docMk/>
            <pc:sldMk cId="2951004223" sldId="263"/>
            <ac:graphicFrameMk id="147" creationId="{F3A60FFC-2AF2-4EF4-B110-09BA94B7C99D}"/>
          </ac:graphicFrameMkLst>
        </pc:graphicFrameChg>
        <pc:cxnChg chg="add del mod ord">
          <ac:chgData name="Ugo MANTEL" userId="2d5b7065-31bb-4181-a7f8-a73bf0c30211" providerId="ADAL" clId="{287A013E-B4BE-485E-AE94-C2936752CD18}" dt="2020-09-30T13:41:09.557" v="102920"/>
          <ac:cxnSpMkLst>
            <pc:docMk/>
            <pc:sldMk cId="2951004223" sldId="263"/>
            <ac:cxnSpMk id="25" creationId="{5925135F-1449-41B8-889E-05C4A1B6FDD5}"/>
          </ac:cxnSpMkLst>
        </pc:cxnChg>
        <pc:cxnChg chg="add del mod ord">
          <ac:chgData name="Ugo MANTEL" userId="2d5b7065-31bb-4181-a7f8-a73bf0c30211" providerId="ADAL" clId="{287A013E-B4BE-485E-AE94-C2936752CD18}" dt="2020-09-30T13:41:09.556" v="102918"/>
          <ac:cxnSpMkLst>
            <pc:docMk/>
            <pc:sldMk cId="2951004223" sldId="263"/>
            <ac:cxnSpMk id="26" creationId="{FF0241B9-93E5-41C3-A862-49FFA3918398}"/>
          </ac:cxnSpMkLst>
        </pc:cxnChg>
        <pc:cxnChg chg="add del mod ord">
          <ac:chgData name="Ugo MANTEL" userId="2d5b7065-31bb-4181-a7f8-a73bf0c30211" providerId="ADAL" clId="{287A013E-B4BE-485E-AE94-C2936752CD18}" dt="2020-09-30T13:41:09.555" v="102916"/>
          <ac:cxnSpMkLst>
            <pc:docMk/>
            <pc:sldMk cId="2951004223" sldId="263"/>
            <ac:cxnSpMk id="27" creationId="{E6F4A4FF-FD7E-43B5-AA47-1F83B4199D51}"/>
          </ac:cxnSpMkLst>
        </pc:cxnChg>
        <pc:cxnChg chg="add del mod ord">
          <ac:chgData name="Ugo MANTEL" userId="2d5b7065-31bb-4181-a7f8-a73bf0c30211" providerId="ADAL" clId="{287A013E-B4BE-485E-AE94-C2936752CD18}" dt="2020-09-30T13:41:09.553" v="102912"/>
          <ac:cxnSpMkLst>
            <pc:docMk/>
            <pc:sldMk cId="2951004223" sldId="263"/>
            <ac:cxnSpMk id="28" creationId="{C8870474-8965-4677-9940-B51617BACE64}"/>
          </ac:cxnSpMkLst>
        </pc:cxnChg>
        <pc:cxnChg chg="add del mod ord">
          <ac:chgData name="Ugo MANTEL" userId="2d5b7065-31bb-4181-a7f8-a73bf0c30211" providerId="ADAL" clId="{287A013E-B4BE-485E-AE94-C2936752CD18}" dt="2020-09-30T13:41:09.551" v="102908"/>
          <ac:cxnSpMkLst>
            <pc:docMk/>
            <pc:sldMk cId="2951004223" sldId="263"/>
            <ac:cxnSpMk id="29" creationId="{98AF917B-985B-4409-9948-64235EB7C616}"/>
          </ac:cxnSpMkLst>
        </pc:cxnChg>
        <pc:cxnChg chg="add del mod ord">
          <ac:chgData name="Ugo MANTEL" userId="2d5b7065-31bb-4181-a7f8-a73bf0c30211" providerId="ADAL" clId="{287A013E-B4BE-485E-AE94-C2936752CD18}" dt="2020-09-30T13:41:09.554" v="102914"/>
          <ac:cxnSpMkLst>
            <pc:docMk/>
            <pc:sldMk cId="2951004223" sldId="263"/>
            <ac:cxnSpMk id="52" creationId="{57316906-0833-4408-B5CE-BFC5CAEAA885}"/>
          </ac:cxnSpMkLst>
        </pc:cxnChg>
        <pc:cxnChg chg="add del mod ord">
          <ac:chgData name="Ugo MANTEL" userId="2d5b7065-31bb-4181-a7f8-a73bf0c30211" providerId="ADAL" clId="{287A013E-B4BE-485E-AE94-C2936752CD18}" dt="2020-09-30T13:41:09.552" v="102910"/>
          <ac:cxnSpMkLst>
            <pc:docMk/>
            <pc:sldMk cId="2951004223" sldId="263"/>
            <ac:cxnSpMk id="53" creationId="{E283B7B0-2664-4846-97DB-325B256E543A}"/>
          </ac:cxnSpMkLst>
        </pc:cxnChg>
        <pc:cxnChg chg="add del mod ord">
          <ac:chgData name="Ugo MANTEL" userId="2d5b7065-31bb-4181-a7f8-a73bf0c30211" providerId="ADAL" clId="{287A013E-B4BE-485E-AE94-C2936752CD18}" dt="2020-09-30T13:41:09.558" v="102922"/>
          <ac:cxnSpMkLst>
            <pc:docMk/>
            <pc:sldMk cId="2951004223" sldId="263"/>
            <ac:cxnSpMk id="55" creationId="{F4A8F1FE-F741-4E7B-BD2D-3E8D3BCB4029}"/>
          </ac:cxnSpMkLst>
        </pc:cxnChg>
        <pc:cxnChg chg="add del mod ord">
          <ac:chgData name="Ugo MANTEL" userId="2d5b7065-31bb-4181-a7f8-a73bf0c30211" providerId="ADAL" clId="{287A013E-B4BE-485E-AE94-C2936752CD18}" dt="2020-09-30T13:41:09.550" v="102906"/>
          <ac:cxnSpMkLst>
            <pc:docMk/>
            <pc:sldMk cId="2951004223" sldId="263"/>
            <ac:cxnSpMk id="56" creationId="{8524F887-418E-4545-B474-9660B32D8846}"/>
          </ac:cxnSpMkLst>
        </pc:cxnChg>
        <pc:cxnChg chg="add del mod ord">
          <ac:chgData name="Ugo MANTEL" userId="2d5b7065-31bb-4181-a7f8-a73bf0c30211" providerId="ADAL" clId="{287A013E-B4BE-485E-AE94-C2936752CD18}" dt="2020-09-30T13:44:17.666" v="103546"/>
          <ac:cxnSpMkLst>
            <pc:docMk/>
            <pc:sldMk cId="2951004223" sldId="263"/>
            <ac:cxnSpMk id="67" creationId="{6A109769-4CC9-484B-BA73-1D0EA4863F6C}"/>
          </ac:cxnSpMkLst>
        </pc:cxnChg>
        <pc:cxnChg chg="add del mod ord">
          <ac:chgData name="Ugo MANTEL" userId="2d5b7065-31bb-4181-a7f8-a73bf0c30211" providerId="ADAL" clId="{287A013E-B4BE-485E-AE94-C2936752CD18}" dt="2020-09-30T13:44:17.666" v="103546"/>
          <ac:cxnSpMkLst>
            <pc:docMk/>
            <pc:sldMk cId="2951004223" sldId="263"/>
            <ac:cxnSpMk id="68" creationId="{5543F845-8481-489C-87F8-39D79186B49D}"/>
          </ac:cxnSpMkLst>
        </pc:cxnChg>
        <pc:cxnChg chg="add del mod ord">
          <ac:chgData name="Ugo MANTEL" userId="2d5b7065-31bb-4181-a7f8-a73bf0c30211" providerId="ADAL" clId="{287A013E-B4BE-485E-AE94-C2936752CD18}" dt="2020-09-30T13:44:17.666" v="103546"/>
          <ac:cxnSpMkLst>
            <pc:docMk/>
            <pc:sldMk cId="2951004223" sldId="263"/>
            <ac:cxnSpMk id="69" creationId="{0D828D86-6D35-4B04-AA4B-490DBAB12CD3}"/>
          </ac:cxnSpMkLst>
        </pc:cxnChg>
        <pc:cxnChg chg="add del mod ord">
          <ac:chgData name="Ugo MANTEL" userId="2d5b7065-31bb-4181-a7f8-a73bf0c30211" providerId="ADAL" clId="{287A013E-B4BE-485E-AE94-C2936752CD18}" dt="2020-09-30T13:44:57.050" v="105370"/>
          <ac:cxnSpMkLst>
            <pc:docMk/>
            <pc:sldMk cId="2951004223" sldId="263"/>
            <ac:cxnSpMk id="72" creationId="{1D645AA6-F3AF-4F87-83A1-A7C074F747A8}"/>
          </ac:cxnSpMkLst>
        </pc:cxnChg>
        <pc:cxnChg chg="add del mod ord">
          <ac:chgData name="Ugo MANTEL" userId="2d5b7065-31bb-4181-a7f8-a73bf0c30211" providerId="ADAL" clId="{287A013E-B4BE-485E-AE94-C2936752CD18}" dt="2020-09-30T13:44:57.049" v="105368"/>
          <ac:cxnSpMkLst>
            <pc:docMk/>
            <pc:sldMk cId="2951004223" sldId="263"/>
            <ac:cxnSpMk id="73" creationId="{C9A4A1C2-A5DF-4B9A-B544-014744BFA468}"/>
          </ac:cxnSpMkLst>
        </pc:cxnChg>
        <pc:cxnChg chg="add del mod ord">
          <ac:chgData name="Ugo MANTEL" userId="2d5b7065-31bb-4181-a7f8-a73bf0c30211" providerId="ADAL" clId="{287A013E-B4BE-485E-AE94-C2936752CD18}" dt="2020-09-30T13:44:57.047" v="105366"/>
          <ac:cxnSpMkLst>
            <pc:docMk/>
            <pc:sldMk cId="2951004223" sldId="263"/>
            <ac:cxnSpMk id="74" creationId="{60EEA6CD-4D1C-4DED-BD8B-D4337DBF124B}"/>
          </ac:cxnSpMkLst>
        </pc:cxnChg>
        <pc:cxnChg chg="add del mod ord">
          <ac:chgData name="Ugo MANTEL" userId="2d5b7065-31bb-4181-a7f8-a73bf0c30211" providerId="ADAL" clId="{287A013E-B4BE-485E-AE94-C2936752CD18}" dt="2020-09-30T13:44:58.483" v="105426"/>
          <ac:cxnSpMkLst>
            <pc:docMk/>
            <pc:sldMk cId="2951004223" sldId="263"/>
            <ac:cxnSpMk id="77" creationId="{49FB79D3-A7A7-40AF-9713-354E6B9E6CE8}"/>
          </ac:cxnSpMkLst>
        </pc:cxnChg>
        <pc:cxnChg chg="add del mod ord">
          <ac:chgData name="Ugo MANTEL" userId="2d5b7065-31bb-4181-a7f8-a73bf0c30211" providerId="ADAL" clId="{287A013E-B4BE-485E-AE94-C2936752CD18}" dt="2020-09-30T13:44:58.482" v="105424"/>
          <ac:cxnSpMkLst>
            <pc:docMk/>
            <pc:sldMk cId="2951004223" sldId="263"/>
            <ac:cxnSpMk id="78" creationId="{CCACE96B-A1E5-4B09-A2CB-FD62B4620647}"/>
          </ac:cxnSpMkLst>
        </pc:cxnChg>
        <pc:cxnChg chg="add del mod ord">
          <ac:chgData name="Ugo MANTEL" userId="2d5b7065-31bb-4181-a7f8-a73bf0c30211" providerId="ADAL" clId="{287A013E-B4BE-485E-AE94-C2936752CD18}" dt="2020-09-30T13:44:58.481" v="105422"/>
          <ac:cxnSpMkLst>
            <pc:docMk/>
            <pc:sldMk cId="2951004223" sldId="263"/>
            <ac:cxnSpMk id="79" creationId="{223CC152-E545-4119-8D39-2DF37C5D632F}"/>
          </ac:cxnSpMkLst>
        </pc:cxnChg>
        <pc:cxnChg chg="add mod ord">
          <ac:chgData name="Ugo MANTEL" userId="2d5b7065-31bb-4181-a7f8-a73bf0c30211" providerId="ADAL" clId="{287A013E-B4BE-485E-AE94-C2936752CD18}" dt="2020-09-30T14:14:36.453" v="110090"/>
          <ac:cxnSpMkLst>
            <pc:docMk/>
            <pc:sldMk cId="2951004223" sldId="263"/>
            <ac:cxnSpMk id="84" creationId="{4A55795F-D62D-4477-9539-82C28D7342E9}"/>
          </ac:cxnSpMkLst>
        </pc:cxnChg>
        <pc:cxnChg chg="add mod ord">
          <ac:chgData name="Ugo MANTEL" userId="2d5b7065-31bb-4181-a7f8-a73bf0c30211" providerId="ADAL" clId="{287A013E-B4BE-485E-AE94-C2936752CD18}" dt="2020-09-30T14:14:36.460" v="110104"/>
          <ac:cxnSpMkLst>
            <pc:docMk/>
            <pc:sldMk cId="2951004223" sldId="263"/>
            <ac:cxnSpMk id="94" creationId="{E547190D-30A4-433B-BDA8-6D4B2FF9D2FD}"/>
          </ac:cxnSpMkLst>
        </pc:cxnChg>
        <pc:cxnChg chg="add mod ord">
          <ac:chgData name="Ugo MANTEL" userId="2d5b7065-31bb-4181-a7f8-a73bf0c30211" providerId="ADAL" clId="{287A013E-B4BE-485E-AE94-C2936752CD18}" dt="2020-09-30T14:14:36.454" v="110092"/>
          <ac:cxnSpMkLst>
            <pc:docMk/>
            <pc:sldMk cId="2951004223" sldId="263"/>
            <ac:cxnSpMk id="121" creationId="{21F2F5BF-3771-483E-8D82-70890A498989}"/>
          </ac:cxnSpMkLst>
        </pc:cxnChg>
        <pc:cxnChg chg="add mod ord">
          <ac:chgData name="Ugo MANTEL" userId="2d5b7065-31bb-4181-a7f8-a73bf0c30211" providerId="ADAL" clId="{287A013E-B4BE-485E-AE94-C2936752CD18}" dt="2020-09-30T14:14:36.455" v="110094"/>
          <ac:cxnSpMkLst>
            <pc:docMk/>
            <pc:sldMk cId="2951004223" sldId="263"/>
            <ac:cxnSpMk id="122" creationId="{CCA631A9-EBE4-4A26-8A9C-141C022FFF04}"/>
          </ac:cxnSpMkLst>
        </pc:cxnChg>
        <pc:cxnChg chg="add mod ord">
          <ac:chgData name="Ugo MANTEL" userId="2d5b7065-31bb-4181-a7f8-a73bf0c30211" providerId="ADAL" clId="{287A013E-B4BE-485E-AE94-C2936752CD18}" dt="2020-09-30T14:14:36.455" v="110096"/>
          <ac:cxnSpMkLst>
            <pc:docMk/>
            <pc:sldMk cId="2951004223" sldId="263"/>
            <ac:cxnSpMk id="123" creationId="{B290A3BD-3963-4B7E-92DD-9A40BD168973}"/>
          </ac:cxnSpMkLst>
        </pc:cxnChg>
        <pc:cxnChg chg="add mod ord">
          <ac:chgData name="Ugo MANTEL" userId="2d5b7065-31bb-4181-a7f8-a73bf0c30211" providerId="ADAL" clId="{287A013E-B4BE-485E-AE94-C2936752CD18}" dt="2020-09-30T14:14:36.457" v="110098"/>
          <ac:cxnSpMkLst>
            <pc:docMk/>
            <pc:sldMk cId="2951004223" sldId="263"/>
            <ac:cxnSpMk id="126" creationId="{FB66F5B6-FEBB-4558-8E36-6FA0131C39A3}"/>
          </ac:cxnSpMkLst>
        </pc:cxnChg>
        <pc:cxnChg chg="add mod ord">
          <ac:chgData name="Ugo MANTEL" userId="2d5b7065-31bb-4181-a7f8-a73bf0c30211" providerId="ADAL" clId="{287A013E-B4BE-485E-AE94-C2936752CD18}" dt="2020-09-30T14:14:36.458" v="110100"/>
          <ac:cxnSpMkLst>
            <pc:docMk/>
            <pc:sldMk cId="2951004223" sldId="263"/>
            <ac:cxnSpMk id="127" creationId="{9F69BC4B-2350-4C37-9B91-5ACC1BCC5EBE}"/>
          </ac:cxnSpMkLst>
        </pc:cxnChg>
        <pc:cxnChg chg="add mod ord">
          <ac:chgData name="Ugo MANTEL" userId="2d5b7065-31bb-4181-a7f8-a73bf0c30211" providerId="ADAL" clId="{287A013E-B4BE-485E-AE94-C2936752CD18}" dt="2020-09-30T14:14:36.459" v="110102"/>
          <ac:cxnSpMkLst>
            <pc:docMk/>
            <pc:sldMk cId="2951004223" sldId="263"/>
            <ac:cxnSpMk id="128" creationId="{0FC3E430-2D11-4503-8A56-046FC19B3A48}"/>
          </ac:cxnSpMkLst>
        </pc:cxnChg>
      </pc:sldChg>
      <pc:sldChg chg="addSp delSp modSp add mod">
        <pc:chgData name="Ugo MANTEL" userId="2d5b7065-31bb-4181-a7f8-a73bf0c30211" providerId="ADAL" clId="{287A013E-B4BE-485E-AE94-C2936752CD18}" dt="2020-09-30T14:22:07.229" v="112267" actId="1076"/>
        <pc:sldMkLst>
          <pc:docMk/>
          <pc:sldMk cId="3228159310" sldId="264"/>
        </pc:sldMkLst>
        <pc:spChg chg="mod ord">
          <ac:chgData name="Ugo MANTEL" userId="2d5b7065-31bb-4181-a7f8-a73bf0c30211" providerId="ADAL" clId="{287A013E-B4BE-485E-AE94-C2936752CD18}" dt="2020-09-30T14:21:51.543" v="112218"/>
          <ac:spMkLst>
            <pc:docMk/>
            <pc:sldMk cId="3228159310" sldId="264"/>
            <ac:spMk id="2" creationId="{74942BC8-F7FC-49E9-B296-00C71A2F51D5}"/>
          </ac:spMkLst>
        </pc:spChg>
        <pc:spChg chg="mod ord">
          <ac:chgData name="Ugo MANTEL" userId="2d5b7065-31bb-4181-a7f8-a73bf0c30211" providerId="ADAL" clId="{287A013E-B4BE-485E-AE94-C2936752CD18}" dt="2020-09-30T14:21:51.541" v="112214"/>
          <ac:spMkLst>
            <pc:docMk/>
            <pc:sldMk cId="3228159310" sldId="264"/>
            <ac:spMk id="4" creationId="{1D149B75-29E2-4A32-B447-52C1973EDED0}"/>
          </ac:spMkLst>
        </pc:spChg>
        <pc:spChg chg="mod">
          <ac:chgData name="Ugo MANTEL" userId="2d5b7065-31bb-4181-a7f8-a73bf0c30211" providerId="ADAL" clId="{287A013E-B4BE-485E-AE94-C2936752CD18}" dt="2020-09-30T14:21:51.553" v="112239"/>
          <ac:spMkLst>
            <pc:docMk/>
            <pc:sldMk cId="3228159310" sldId="264"/>
            <ac:spMk id="6" creationId="{20ABFB18-92B3-4581-849D-D6C5F42002DE}"/>
          </ac:spMkLst>
        </pc:spChg>
        <pc:spChg chg="mod">
          <ac:chgData name="Ugo MANTEL" userId="2d5b7065-31bb-4181-a7f8-a73bf0c30211" providerId="ADAL" clId="{287A013E-B4BE-485E-AE94-C2936752CD18}" dt="2020-09-30T14:21:51.554" v="112240"/>
          <ac:spMkLst>
            <pc:docMk/>
            <pc:sldMk cId="3228159310" sldId="264"/>
            <ac:spMk id="7" creationId="{8FD9938C-F978-46AE-BB3A-EDEDFF7FD70A}"/>
          </ac:spMkLst>
        </pc:spChg>
        <pc:spChg chg="mod">
          <ac:chgData name="Ugo MANTEL" userId="2d5b7065-31bb-4181-a7f8-a73bf0c30211" providerId="ADAL" clId="{287A013E-B4BE-485E-AE94-C2936752CD18}" dt="2020-09-30T14:21:51.555" v="112245"/>
          <ac:spMkLst>
            <pc:docMk/>
            <pc:sldMk cId="3228159310" sldId="264"/>
            <ac:spMk id="8" creationId="{24DBBEC1-2EBC-4025-BAED-993C2FA9EB18}"/>
          </ac:spMkLst>
        </pc:spChg>
        <pc:spChg chg="add del mod">
          <ac:chgData name="Ugo MANTEL" userId="2d5b7065-31bb-4181-a7f8-a73bf0c30211" providerId="ADAL" clId="{287A013E-B4BE-485E-AE94-C2936752CD18}" dt="2020-09-30T14:20:36.987" v="111139"/>
          <ac:spMkLst>
            <pc:docMk/>
            <pc:sldMk cId="3228159310" sldId="264"/>
            <ac:spMk id="38" creationId="{9FA4320F-C716-4E0C-881E-626505C353A5}"/>
          </ac:spMkLst>
        </pc:spChg>
        <pc:spChg chg="add del mod ord">
          <ac:chgData name="Ugo MANTEL" userId="2d5b7065-31bb-4181-a7f8-a73bf0c30211" providerId="ADAL" clId="{287A013E-B4BE-485E-AE94-C2936752CD18}" dt="2020-09-30T14:20:36.986" v="111138"/>
          <ac:spMkLst>
            <pc:docMk/>
            <pc:sldMk cId="3228159310" sldId="264"/>
            <ac:spMk id="39" creationId="{7947A916-A814-404E-B5C9-4E9F5505F280}"/>
          </ac:spMkLst>
        </pc:spChg>
        <pc:spChg chg="add del mod">
          <ac:chgData name="Ugo MANTEL" userId="2d5b7065-31bb-4181-a7f8-a73bf0c30211" providerId="ADAL" clId="{287A013E-B4BE-485E-AE94-C2936752CD18}" dt="2020-09-30T14:20:36.982" v="111134"/>
          <ac:spMkLst>
            <pc:docMk/>
            <pc:sldMk cId="3228159310" sldId="264"/>
            <ac:spMk id="40" creationId="{0365556D-2C52-4AA8-9B67-16253DE8D055}"/>
          </ac:spMkLst>
        </pc:spChg>
        <pc:spChg chg="add del mod">
          <ac:chgData name="Ugo MANTEL" userId="2d5b7065-31bb-4181-a7f8-a73bf0c30211" providerId="ADAL" clId="{287A013E-B4BE-485E-AE94-C2936752CD18}" dt="2020-09-30T14:20:36.978" v="111131"/>
          <ac:spMkLst>
            <pc:docMk/>
            <pc:sldMk cId="3228159310" sldId="264"/>
            <ac:spMk id="41" creationId="{75519D66-D4AE-42E9-BDB3-DAD0A9CF1310}"/>
          </ac:spMkLst>
        </pc:spChg>
        <pc:spChg chg="add del mod">
          <ac:chgData name="Ugo MANTEL" userId="2d5b7065-31bb-4181-a7f8-a73bf0c30211" providerId="ADAL" clId="{287A013E-B4BE-485E-AE94-C2936752CD18}" dt="2020-09-30T14:20:36.975" v="111128"/>
          <ac:spMkLst>
            <pc:docMk/>
            <pc:sldMk cId="3228159310" sldId="264"/>
            <ac:spMk id="42" creationId="{9F15F1B8-A516-4B25-AB4E-51470E39BE3B}"/>
          </ac:spMkLst>
        </pc:spChg>
        <pc:spChg chg="mod">
          <ac:chgData name="Ugo MANTEL" userId="2d5b7065-31bb-4181-a7f8-a73bf0c30211" providerId="ADAL" clId="{287A013E-B4BE-485E-AE94-C2936752CD18}" dt="2020-09-30T14:21:51.555" v="112244"/>
          <ac:spMkLst>
            <pc:docMk/>
            <pc:sldMk cId="3228159310" sldId="264"/>
            <ac:spMk id="43" creationId="{A9A0C130-CA17-448C-B406-947373E76974}"/>
          </ac:spMkLst>
        </pc:spChg>
        <pc:spChg chg="mod">
          <ac:chgData name="Ugo MANTEL" userId="2d5b7065-31bb-4181-a7f8-a73bf0c30211" providerId="ADAL" clId="{287A013E-B4BE-485E-AE94-C2936752CD18}" dt="2020-09-30T14:21:51.556" v="112246"/>
          <ac:spMkLst>
            <pc:docMk/>
            <pc:sldMk cId="3228159310" sldId="264"/>
            <ac:spMk id="44" creationId="{FDD0A22E-D044-4738-A846-D69DD4EC1C73}"/>
          </ac:spMkLst>
        </pc:spChg>
        <pc:spChg chg="mod">
          <ac:chgData name="Ugo MANTEL" userId="2d5b7065-31bb-4181-a7f8-a73bf0c30211" providerId="ADAL" clId="{287A013E-B4BE-485E-AE94-C2936752CD18}" dt="2020-09-30T14:21:51.554" v="112242"/>
          <ac:spMkLst>
            <pc:docMk/>
            <pc:sldMk cId="3228159310" sldId="264"/>
            <ac:spMk id="45" creationId="{5656A40E-94D2-4D19-9FCB-B644FC3F1A54}"/>
          </ac:spMkLst>
        </pc:spChg>
        <pc:spChg chg="mod">
          <ac:chgData name="Ugo MANTEL" userId="2d5b7065-31bb-4181-a7f8-a73bf0c30211" providerId="ADAL" clId="{287A013E-B4BE-485E-AE94-C2936752CD18}" dt="2020-09-30T14:21:51.553" v="112238"/>
          <ac:spMkLst>
            <pc:docMk/>
            <pc:sldMk cId="3228159310" sldId="264"/>
            <ac:spMk id="46" creationId="{46B3103C-B011-4050-9308-7682C2786A94}"/>
          </ac:spMkLst>
        </pc:spChg>
        <pc:spChg chg="mod">
          <ac:chgData name="Ugo MANTEL" userId="2d5b7065-31bb-4181-a7f8-a73bf0c30211" providerId="ADAL" clId="{287A013E-B4BE-485E-AE94-C2936752CD18}" dt="2020-09-30T14:21:51.555" v="112243"/>
          <ac:spMkLst>
            <pc:docMk/>
            <pc:sldMk cId="3228159310" sldId="264"/>
            <ac:spMk id="47" creationId="{6D559518-E8C1-46B8-9B52-9036FEE0B55E}"/>
          </ac:spMkLst>
        </pc:spChg>
        <pc:spChg chg="mod">
          <ac:chgData name="Ugo MANTEL" userId="2d5b7065-31bb-4181-a7f8-a73bf0c30211" providerId="ADAL" clId="{287A013E-B4BE-485E-AE94-C2936752CD18}" dt="2020-09-30T14:21:51.556" v="112247"/>
          <ac:spMkLst>
            <pc:docMk/>
            <pc:sldMk cId="3228159310" sldId="264"/>
            <ac:spMk id="48" creationId="{8C66A17F-8A18-4E0C-B25E-892F3E969D94}"/>
          </ac:spMkLst>
        </pc:spChg>
        <pc:spChg chg="add del mod">
          <ac:chgData name="Ugo MANTEL" userId="2d5b7065-31bb-4181-a7f8-a73bf0c30211" providerId="ADAL" clId="{287A013E-B4BE-485E-AE94-C2936752CD18}" dt="2020-09-30T14:20:36.972" v="111125"/>
          <ac:spMkLst>
            <pc:docMk/>
            <pc:sldMk cId="3228159310" sldId="264"/>
            <ac:spMk id="49" creationId="{5CB874F9-DED8-42DF-9A45-8A1FDB7FA7DE}"/>
          </ac:spMkLst>
        </pc:spChg>
        <pc:spChg chg="add del mod">
          <ac:chgData name="Ugo MANTEL" userId="2d5b7065-31bb-4181-a7f8-a73bf0c30211" providerId="ADAL" clId="{287A013E-B4BE-485E-AE94-C2936752CD18}" dt="2020-09-30T14:20:36.968" v="111122"/>
          <ac:spMkLst>
            <pc:docMk/>
            <pc:sldMk cId="3228159310" sldId="264"/>
            <ac:spMk id="50" creationId="{A7F57407-C16A-457C-80B1-14AD2D12C3B6}"/>
          </ac:spMkLst>
        </pc:spChg>
        <pc:spChg chg="add del mod">
          <ac:chgData name="Ugo MANTEL" userId="2d5b7065-31bb-4181-a7f8-a73bf0c30211" providerId="ADAL" clId="{287A013E-B4BE-485E-AE94-C2936752CD18}" dt="2020-09-30T14:20:36.965" v="111119"/>
          <ac:spMkLst>
            <pc:docMk/>
            <pc:sldMk cId="3228159310" sldId="264"/>
            <ac:spMk id="51" creationId="{4C57B522-76D9-45B8-A935-06B667007220}"/>
          </ac:spMkLst>
        </pc:spChg>
        <pc:spChg chg="add del mod">
          <ac:chgData name="Ugo MANTEL" userId="2d5b7065-31bb-4181-a7f8-a73bf0c30211" providerId="ADAL" clId="{287A013E-B4BE-485E-AE94-C2936752CD18}" dt="2020-09-30T14:20:36.962" v="111118"/>
          <ac:spMkLst>
            <pc:docMk/>
            <pc:sldMk cId="3228159310" sldId="264"/>
            <ac:spMk id="52" creationId="{F172FAB8-36F7-44DE-99D4-4AD8A8784ADC}"/>
          </ac:spMkLst>
        </pc:spChg>
        <pc:spChg chg="mod ord">
          <ac:chgData name="Ugo MANTEL" userId="2d5b7065-31bb-4181-a7f8-a73bf0c30211" providerId="ADAL" clId="{287A013E-B4BE-485E-AE94-C2936752CD18}" dt="2020-09-30T14:21:51.559" v="112256"/>
          <ac:spMkLst>
            <pc:docMk/>
            <pc:sldMk cId="3228159310" sldId="264"/>
            <ac:spMk id="83" creationId="{B88B1108-0092-4AF0-9274-78C36552DF38}"/>
          </ac:spMkLst>
        </pc:spChg>
        <pc:spChg chg="mod ord">
          <ac:chgData name="Ugo MANTEL" userId="2d5b7065-31bb-4181-a7f8-a73bf0c30211" providerId="ADAL" clId="{287A013E-B4BE-485E-AE94-C2936752CD18}" dt="2020-09-30T14:21:51.562" v="112262"/>
          <ac:spMkLst>
            <pc:docMk/>
            <pc:sldMk cId="3228159310" sldId="264"/>
            <ac:spMk id="93" creationId="{C7A85204-D779-4BC9-8681-F532B6318218}"/>
          </ac:spMkLst>
        </pc:spChg>
        <pc:spChg chg="mod">
          <ac:chgData name="Ugo MANTEL" userId="2d5b7065-31bb-4181-a7f8-a73bf0c30211" providerId="ADAL" clId="{287A013E-B4BE-485E-AE94-C2936752CD18}" dt="2020-09-30T14:21:51.557" v="112249"/>
          <ac:spMkLst>
            <pc:docMk/>
            <pc:sldMk cId="3228159310" sldId="264"/>
            <ac:spMk id="96" creationId="{96ACD372-FEF3-47D1-B300-A297F400E38C}"/>
          </ac:spMkLst>
        </pc:spChg>
        <pc:spChg chg="mod">
          <ac:chgData name="Ugo MANTEL" userId="2d5b7065-31bb-4181-a7f8-a73bf0c30211" providerId="ADAL" clId="{287A013E-B4BE-485E-AE94-C2936752CD18}" dt="2020-09-30T14:21:51.557" v="112250"/>
          <ac:spMkLst>
            <pc:docMk/>
            <pc:sldMk cId="3228159310" sldId="264"/>
            <ac:spMk id="98" creationId="{1DE28F63-AB22-4CC0-A2FB-42770F0DA4C5}"/>
          </ac:spMkLst>
        </pc:spChg>
        <pc:spChg chg="mod">
          <ac:chgData name="Ugo MANTEL" userId="2d5b7065-31bb-4181-a7f8-a73bf0c30211" providerId="ADAL" clId="{287A013E-B4BE-485E-AE94-C2936752CD18}" dt="2020-09-30T14:21:51.557" v="112251"/>
          <ac:spMkLst>
            <pc:docMk/>
            <pc:sldMk cId="3228159310" sldId="264"/>
            <ac:spMk id="99" creationId="{B7012B39-405B-48CB-AB07-FC31E3EAF9AA}"/>
          </ac:spMkLst>
        </pc:spChg>
        <pc:spChg chg="mod">
          <ac:chgData name="Ugo MANTEL" userId="2d5b7065-31bb-4181-a7f8-a73bf0c30211" providerId="ADAL" clId="{287A013E-B4BE-485E-AE94-C2936752CD18}" dt="2020-09-30T14:21:51.556" v="112248"/>
          <ac:spMkLst>
            <pc:docMk/>
            <pc:sldMk cId="3228159310" sldId="264"/>
            <ac:spMk id="100" creationId="{BD03CE83-5B80-4222-9DF4-8B8CDD6253FD}"/>
          </ac:spMkLst>
        </pc:spChg>
        <pc:spChg chg="mod">
          <ac:chgData name="Ugo MANTEL" userId="2d5b7065-31bb-4181-a7f8-a73bf0c30211" providerId="ADAL" clId="{287A013E-B4BE-485E-AE94-C2936752CD18}" dt="2020-09-30T14:21:51.557" v="112252"/>
          <ac:spMkLst>
            <pc:docMk/>
            <pc:sldMk cId="3228159310" sldId="264"/>
            <ac:spMk id="101" creationId="{DE44398E-CA7D-423C-B470-AEEC17B9CEF1}"/>
          </ac:spMkLst>
        </pc:spChg>
        <pc:spChg chg="mod">
          <ac:chgData name="Ugo MANTEL" userId="2d5b7065-31bb-4181-a7f8-a73bf0c30211" providerId="ADAL" clId="{287A013E-B4BE-485E-AE94-C2936752CD18}" dt="2020-09-30T14:21:51.558" v="112253"/>
          <ac:spMkLst>
            <pc:docMk/>
            <pc:sldMk cId="3228159310" sldId="264"/>
            <ac:spMk id="102" creationId="{41BAEDB9-ABF1-40DF-B0EE-8DAE21411DCE}"/>
          </ac:spMkLst>
        </pc:spChg>
        <pc:spChg chg="mod">
          <ac:chgData name="Ugo MANTEL" userId="2d5b7065-31bb-4181-a7f8-a73bf0c30211" providerId="ADAL" clId="{287A013E-B4BE-485E-AE94-C2936752CD18}" dt="2020-09-30T14:21:51.554" v="112241"/>
          <ac:spMkLst>
            <pc:docMk/>
            <pc:sldMk cId="3228159310" sldId="264"/>
            <ac:spMk id="103" creationId="{19BD0584-735D-43A7-B72F-9CD40765384D}"/>
          </ac:spMkLst>
        </pc:spChg>
        <pc:spChg chg="mod">
          <ac:chgData name="Ugo MANTEL" userId="2d5b7065-31bb-4181-a7f8-a73bf0c30211" providerId="ADAL" clId="{287A013E-B4BE-485E-AE94-C2936752CD18}" dt="2020-09-30T14:21:51.558" v="112254"/>
          <ac:spMkLst>
            <pc:docMk/>
            <pc:sldMk cId="3228159310" sldId="264"/>
            <ac:spMk id="104" creationId="{ACB2F137-2C20-476F-8A5F-CB5C1DB3BABB}"/>
          </ac:spMkLst>
        </pc:spChg>
        <pc:spChg chg="mod">
          <ac:chgData name="Ugo MANTEL" userId="2d5b7065-31bb-4181-a7f8-a73bf0c30211" providerId="ADAL" clId="{287A013E-B4BE-485E-AE94-C2936752CD18}" dt="2020-09-30T14:21:51.553" v="112237"/>
          <ac:spMkLst>
            <pc:docMk/>
            <pc:sldMk cId="3228159310" sldId="264"/>
            <ac:spMk id="105" creationId="{F05CE6D0-53F8-4866-BBE8-08E714873EDF}"/>
          </ac:spMkLst>
        </pc:spChg>
        <pc:spChg chg="mod ord">
          <ac:chgData name="Ugo MANTEL" userId="2d5b7065-31bb-4181-a7f8-a73bf0c30211" providerId="ADAL" clId="{287A013E-B4BE-485E-AE94-C2936752CD18}" dt="2020-09-30T14:21:51.560" v="112258"/>
          <ac:spMkLst>
            <pc:docMk/>
            <pc:sldMk cId="3228159310" sldId="264"/>
            <ac:spMk id="120" creationId="{ACC55E45-D91A-4E5A-B55D-CC1C31EE3885}"/>
          </ac:spMkLst>
        </pc:spChg>
        <pc:spChg chg="mod ord">
          <ac:chgData name="Ugo MANTEL" userId="2d5b7065-31bb-4181-a7f8-a73bf0c30211" providerId="ADAL" clId="{287A013E-B4BE-485E-AE94-C2936752CD18}" dt="2020-09-30T14:21:51.561" v="112260"/>
          <ac:spMkLst>
            <pc:docMk/>
            <pc:sldMk cId="3228159310" sldId="264"/>
            <ac:spMk id="125" creationId="{D4489E23-9F70-4A58-BC89-401B9D993A86}"/>
          </ac:spMkLst>
        </pc:spChg>
        <pc:spChg chg="mod ord">
          <ac:chgData name="Ugo MANTEL" userId="2d5b7065-31bb-4181-a7f8-a73bf0c30211" providerId="ADAL" clId="{287A013E-B4BE-485E-AE94-C2936752CD18}" dt="2020-09-30T14:22:07.229" v="112267" actId="1076"/>
          <ac:spMkLst>
            <pc:docMk/>
            <pc:sldMk cId="3228159310" sldId="264"/>
            <ac:spMk id="130" creationId="{FF45CDC5-AEFC-4177-BDED-9F577489C7DE}"/>
          </ac:spMkLst>
        </pc:spChg>
        <pc:spChg chg="mod ord">
          <ac:chgData name="Ugo MANTEL" userId="2d5b7065-31bb-4181-a7f8-a73bf0c30211" providerId="ADAL" clId="{287A013E-B4BE-485E-AE94-C2936752CD18}" dt="2020-09-30T14:21:51.563" v="112264"/>
          <ac:spMkLst>
            <pc:docMk/>
            <pc:sldMk cId="3228159310" sldId="264"/>
            <ac:spMk id="148" creationId="{166C2580-7BC9-484F-8D0C-7A9FD06E5F01}"/>
          </ac:spMkLst>
        </pc:spChg>
        <pc:graphicFrameChg chg="mod ord">
          <ac:chgData name="Ugo MANTEL" userId="2d5b7065-31bb-4181-a7f8-a73bf0c30211" providerId="ADAL" clId="{287A013E-B4BE-485E-AE94-C2936752CD18}" dt="2020-09-30T14:21:51.567" v="112266"/>
          <ac:graphicFrameMkLst>
            <pc:docMk/>
            <pc:sldMk cId="3228159310" sldId="264"/>
            <ac:graphicFrameMk id="12" creationId="{D08690BD-9494-496C-A56C-12FDCA69AC2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20:33.879" v="111034"/>
          <ac:graphicFrameMkLst>
            <pc:docMk/>
            <pc:sldMk cId="3228159310" sldId="264"/>
            <ac:graphicFrameMk id="53" creationId="{A05D57D2-8F5D-4470-9057-D7E5FE08CAE5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20:37.110" v="111241"/>
          <ac:graphicFrameMkLst>
            <pc:docMk/>
            <pc:sldMk cId="3228159310" sldId="264"/>
            <ac:graphicFrameMk id="54" creationId="{F23AA84A-A2AB-4E7B-A921-4FD3A9902F90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21:18.488" v="111761"/>
          <ac:graphicFrameMkLst>
            <pc:docMk/>
            <pc:sldMk cId="3228159310" sldId="264"/>
            <ac:graphicFrameMk id="55" creationId="{D63C813B-F85F-43EA-9CE5-5B88FF31BA10}"/>
          </ac:graphicFrameMkLst>
        </pc:graphicFrameChg>
        <pc:graphicFrameChg chg="add mod ord">
          <ac:chgData name="Ugo MANTEL" userId="2d5b7065-31bb-4181-a7f8-a73bf0c30211" providerId="ADAL" clId="{287A013E-B4BE-485E-AE94-C2936752CD18}" dt="2020-09-30T14:20:56.736" v="111498"/>
          <ac:graphicFrameMkLst>
            <pc:docMk/>
            <pc:sldMk cId="3228159310" sldId="264"/>
            <ac:graphicFrameMk id="56" creationId="{D071B54A-AB43-400A-9F69-F24D305A387F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21:48.836" v="111947"/>
          <ac:graphicFrameMkLst>
            <pc:docMk/>
            <pc:sldMk cId="3228159310" sldId="264"/>
            <ac:graphicFrameMk id="57" creationId="{0CA56BA8-98D6-409E-B541-6CBE33F2B247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21:50.418" v="112076"/>
          <ac:graphicFrameMkLst>
            <pc:docMk/>
            <pc:sldMk cId="3228159310" sldId="264"/>
            <ac:graphicFrameMk id="58" creationId="{4C9DFFFB-82B1-4E9F-9050-A918806C47CD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21:51.521" v="112205"/>
          <ac:graphicFrameMkLst>
            <pc:docMk/>
            <pc:sldMk cId="3228159310" sldId="264"/>
            <ac:graphicFrameMk id="59" creationId="{E108E6B3-26CE-420D-BADB-7AE326920092}"/>
          </ac:graphicFrameMkLst>
        </pc:graphicFrameChg>
        <pc:graphicFrameChg chg="add mod ord">
          <ac:chgData name="Ugo MANTEL" userId="2d5b7065-31bb-4181-a7f8-a73bf0c30211" providerId="ADAL" clId="{287A013E-B4BE-485E-AE94-C2936752CD18}" dt="2020-09-30T14:21:51.544" v="112220"/>
          <ac:graphicFrameMkLst>
            <pc:docMk/>
            <pc:sldMk cId="3228159310" sldId="264"/>
            <ac:graphicFrameMk id="60" creationId="{5D1622A0-1F53-4A71-87C1-678C04DD78C8}"/>
          </ac:graphicFrameMkLst>
        </pc:graphicFrameChg>
        <pc:graphicFrameChg chg="del">
          <ac:chgData name="Ugo MANTEL" userId="2d5b7065-31bb-4181-a7f8-a73bf0c30211" providerId="ADAL" clId="{287A013E-B4BE-485E-AE94-C2936752CD18}" dt="2020-09-30T14:20:22.789" v="110696"/>
          <ac:graphicFrameMkLst>
            <pc:docMk/>
            <pc:sldMk cId="3228159310" sldId="264"/>
            <ac:graphicFrameMk id="147" creationId="{F3A60FFC-2AF2-4EF4-B110-09BA94B7C99D}"/>
          </ac:graphicFrameMkLst>
        </pc:graphicFrameChg>
        <pc:cxnChg chg="add del mod ord">
          <ac:chgData name="Ugo MANTEL" userId="2d5b7065-31bb-4181-a7f8-a73bf0c30211" providerId="ADAL" clId="{287A013E-B4BE-485E-AE94-C2936752CD18}" dt="2020-09-30T14:20:36.984" v="111136"/>
          <ac:cxnSpMkLst>
            <pc:docMk/>
            <pc:sldMk cId="3228159310" sldId="264"/>
            <ac:cxnSpMk id="3" creationId="{84DF5E29-8C53-47AA-BE2A-062C83293DB8}"/>
          </ac:cxnSpMkLst>
        </pc:cxnChg>
        <pc:cxnChg chg="add del mod ord">
          <ac:chgData name="Ugo MANTEL" userId="2d5b7065-31bb-4181-a7f8-a73bf0c30211" providerId="ADAL" clId="{287A013E-B4BE-485E-AE94-C2936752CD18}" dt="2020-09-30T14:20:36.981" v="111133"/>
          <ac:cxnSpMkLst>
            <pc:docMk/>
            <pc:sldMk cId="3228159310" sldId="264"/>
            <ac:cxnSpMk id="5" creationId="{D5B84A5B-F454-4EDC-93E6-C6A392AC7374}"/>
          </ac:cxnSpMkLst>
        </pc:cxnChg>
        <pc:cxnChg chg="add del mod ord">
          <ac:chgData name="Ugo MANTEL" userId="2d5b7065-31bb-4181-a7f8-a73bf0c30211" providerId="ADAL" clId="{287A013E-B4BE-485E-AE94-C2936752CD18}" dt="2020-09-30T14:20:36.977" v="111130"/>
          <ac:cxnSpMkLst>
            <pc:docMk/>
            <pc:sldMk cId="3228159310" sldId="264"/>
            <ac:cxnSpMk id="9" creationId="{BC5898A6-C1CC-443D-9536-2279ED92960C}"/>
          </ac:cxnSpMkLst>
        </pc:cxnChg>
        <pc:cxnChg chg="add del mod ord">
          <ac:chgData name="Ugo MANTEL" userId="2d5b7065-31bb-4181-a7f8-a73bf0c30211" providerId="ADAL" clId="{287A013E-B4BE-485E-AE94-C2936752CD18}" dt="2020-09-30T14:20:36.974" v="111127"/>
          <ac:cxnSpMkLst>
            <pc:docMk/>
            <pc:sldMk cId="3228159310" sldId="264"/>
            <ac:cxnSpMk id="10" creationId="{5FED0845-ACA9-42CE-8426-FD9D329595ED}"/>
          </ac:cxnSpMkLst>
        </pc:cxnChg>
        <pc:cxnChg chg="add del mod ord">
          <ac:chgData name="Ugo MANTEL" userId="2d5b7065-31bb-4181-a7f8-a73bf0c30211" providerId="ADAL" clId="{287A013E-B4BE-485E-AE94-C2936752CD18}" dt="2020-09-30T14:20:36.971" v="111124"/>
          <ac:cxnSpMkLst>
            <pc:docMk/>
            <pc:sldMk cId="3228159310" sldId="264"/>
            <ac:cxnSpMk id="11" creationId="{EAFA9EC8-F508-4A40-BCDB-3E0E254DAD61}"/>
          </ac:cxnSpMkLst>
        </pc:cxnChg>
        <pc:cxnChg chg="add del mod ord">
          <ac:chgData name="Ugo MANTEL" userId="2d5b7065-31bb-4181-a7f8-a73bf0c30211" providerId="ADAL" clId="{287A013E-B4BE-485E-AE94-C2936752CD18}" dt="2020-09-30T14:20:36.968" v="111121"/>
          <ac:cxnSpMkLst>
            <pc:docMk/>
            <pc:sldMk cId="3228159310" sldId="264"/>
            <ac:cxnSpMk id="13" creationId="{57FBDCBC-7202-433B-9D7F-2EC15324BE0B}"/>
          </ac:cxnSpMkLst>
        </pc:cxnChg>
        <pc:cxnChg chg="mod ord">
          <ac:chgData name="Ugo MANTEL" userId="2d5b7065-31bb-4181-a7f8-a73bf0c30211" providerId="ADAL" clId="{287A013E-B4BE-485E-AE94-C2936752CD18}" dt="2020-09-30T14:21:51.545" v="112222"/>
          <ac:cxnSpMkLst>
            <pc:docMk/>
            <pc:sldMk cId="3228159310" sldId="264"/>
            <ac:cxnSpMk id="84" creationId="{4A55795F-D62D-4477-9539-82C28D7342E9}"/>
          </ac:cxnSpMkLst>
        </pc:cxnChg>
        <pc:cxnChg chg="mod ord">
          <ac:chgData name="Ugo MANTEL" userId="2d5b7065-31bb-4181-a7f8-a73bf0c30211" providerId="ADAL" clId="{287A013E-B4BE-485E-AE94-C2936752CD18}" dt="2020-09-30T14:21:51.552" v="112236"/>
          <ac:cxnSpMkLst>
            <pc:docMk/>
            <pc:sldMk cId="3228159310" sldId="264"/>
            <ac:cxnSpMk id="94" creationId="{E547190D-30A4-433B-BDA8-6D4B2FF9D2FD}"/>
          </ac:cxnSpMkLst>
        </pc:cxnChg>
        <pc:cxnChg chg="mod ord">
          <ac:chgData name="Ugo MANTEL" userId="2d5b7065-31bb-4181-a7f8-a73bf0c30211" providerId="ADAL" clId="{287A013E-B4BE-485E-AE94-C2936752CD18}" dt="2020-09-30T14:21:51.548" v="112228"/>
          <ac:cxnSpMkLst>
            <pc:docMk/>
            <pc:sldMk cId="3228159310" sldId="264"/>
            <ac:cxnSpMk id="121" creationId="{21F2F5BF-3771-483E-8D82-70890A498989}"/>
          </ac:cxnSpMkLst>
        </pc:cxnChg>
        <pc:cxnChg chg="mod ord">
          <ac:chgData name="Ugo MANTEL" userId="2d5b7065-31bb-4181-a7f8-a73bf0c30211" providerId="ADAL" clId="{287A013E-B4BE-485E-AE94-C2936752CD18}" dt="2020-09-30T14:21:51.547" v="112226"/>
          <ac:cxnSpMkLst>
            <pc:docMk/>
            <pc:sldMk cId="3228159310" sldId="264"/>
            <ac:cxnSpMk id="122" creationId="{CCA631A9-EBE4-4A26-8A9C-141C022FFF04}"/>
          </ac:cxnSpMkLst>
        </pc:cxnChg>
        <pc:cxnChg chg="mod ord">
          <ac:chgData name="Ugo MANTEL" userId="2d5b7065-31bb-4181-a7f8-a73bf0c30211" providerId="ADAL" clId="{287A013E-B4BE-485E-AE94-C2936752CD18}" dt="2020-09-30T14:21:51.546" v="112224"/>
          <ac:cxnSpMkLst>
            <pc:docMk/>
            <pc:sldMk cId="3228159310" sldId="264"/>
            <ac:cxnSpMk id="123" creationId="{B290A3BD-3963-4B7E-92DD-9A40BD168973}"/>
          </ac:cxnSpMkLst>
        </pc:cxnChg>
        <pc:cxnChg chg="mod ord">
          <ac:chgData name="Ugo MANTEL" userId="2d5b7065-31bb-4181-a7f8-a73bf0c30211" providerId="ADAL" clId="{287A013E-B4BE-485E-AE94-C2936752CD18}" dt="2020-09-30T14:21:51.549" v="112230"/>
          <ac:cxnSpMkLst>
            <pc:docMk/>
            <pc:sldMk cId="3228159310" sldId="264"/>
            <ac:cxnSpMk id="126" creationId="{FB66F5B6-FEBB-4558-8E36-6FA0131C39A3}"/>
          </ac:cxnSpMkLst>
        </pc:cxnChg>
        <pc:cxnChg chg="mod ord">
          <ac:chgData name="Ugo MANTEL" userId="2d5b7065-31bb-4181-a7f8-a73bf0c30211" providerId="ADAL" clId="{287A013E-B4BE-485E-AE94-C2936752CD18}" dt="2020-09-30T14:21:51.550" v="112232"/>
          <ac:cxnSpMkLst>
            <pc:docMk/>
            <pc:sldMk cId="3228159310" sldId="264"/>
            <ac:cxnSpMk id="127" creationId="{9F69BC4B-2350-4C37-9B91-5ACC1BCC5EBE}"/>
          </ac:cxnSpMkLst>
        </pc:cxnChg>
        <pc:cxnChg chg="mod ord">
          <ac:chgData name="Ugo MANTEL" userId="2d5b7065-31bb-4181-a7f8-a73bf0c30211" providerId="ADAL" clId="{287A013E-B4BE-485E-AE94-C2936752CD18}" dt="2020-09-30T14:21:51.551" v="112234"/>
          <ac:cxnSpMkLst>
            <pc:docMk/>
            <pc:sldMk cId="3228159310" sldId="264"/>
            <ac:cxnSpMk id="128" creationId="{0FC3E430-2D11-4503-8A56-046FC19B3A48}"/>
          </ac:cxnSpMkLst>
        </pc:cxnChg>
      </pc:sldChg>
      <pc:sldChg chg="addSp delSp modSp add mod">
        <pc:chgData name="Ugo MANTEL" userId="2d5b7065-31bb-4181-a7f8-a73bf0c30211" providerId="ADAL" clId="{287A013E-B4BE-485E-AE94-C2936752CD18}" dt="2020-09-30T14:30:55.998" v="112899"/>
        <pc:sldMkLst>
          <pc:docMk/>
          <pc:sldMk cId="1605337167" sldId="265"/>
        </pc:sldMkLst>
        <pc:spChg chg="mod ord">
          <ac:chgData name="Ugo MANTEL" userId="2d5b7065-31bb-4181-a7f8-a73bf0c30211" providerId="ADAL" clId="{287A013E-B4BE-485E-AE94-C2936752CD18}" dt="2020-09-30T14:30:55.977" v="112851"/>
          <ac:spMkLst>
            <pc:docMk/>
            <pc:sldMk cId="1605337167" sldId="265"/>
            <ac:spMk id="2" creationId="{74942BC8-F7FC-49E9-B296-00C71A2F51D5}"/>
          </ac:spMkLst>
        </pc:spChg>
        <pc:spChg chg="mod ord">
          <ac:chgData name="Ugo MANTEL" userId="2d5b7065-31bb-4181-a7f8-a73bf0c30211" providerId="ADAL" clId="{287A013E-B4BE-485E-AE94-C2936752CD18}" dt="2020-09-30T14:30:55.975" v="112847"/>
          <ac:spMkLst>
            <pc:docMk/>
            <pc:sldMk cId="1605337167" sldId="265"/>
            <ac:spMk id="4" creationId="{1D149B75-29E2-4A32-B447-52C1973EDED0}"/>
          </ac:spMkLst>
        </pc:spChg>
        <pc:spChg chg="mod">
          <ac:chgData name="Ugo MANTEL" userId="2d5b7065-31bb-4181-a7f8-a73bf0c30211" providerId="ADAL" clId="{287A013E-B4BE-485E-AE94-C2936752CD18}" dt="2020-09-30T14:30:55.986" v="112874"/>
          <ac:spMkLst>
            <pc:docMk/>
            <pc:sldMk cId="1605337167" sldId="265"/>
            <ac:spMk id="6" creationId="{20ABFB18-92B3-4581-849D-D6C5F42002DE}"/>
          </ac:spMkLst>
        </pc:spChg>
        <pc:spChg chg="mod">
          <ac:chgData name="Ugo MANTEL" userId="2d5b7065-31bb-4181-a7f8-a73bf0c30211" providerId="ADAL" clId="{287A013E-B4BE-485E-AE94-C2936752CD18}" dt="2020-09-30T14:30:55.986" v="112875"/>
          <ac:spMkLst>
            <pc:docMk/>
            <pc:sldMk cId="1605337167" sldId="265"/>
            <ac:spMk id="7" creationId="{8FD9938C-F978-46AE-BB3A-EDEDFF7FD70A}"/>
          </ac:spMkLst>
        </pc:spChg>
        <pc:spChg chg="mod">
          <ac:chgData name="Ugo MANTEL" userId="2d5b7065-31bb-4181-a7f8-a73bf0c30211" providerId="ADAL" clId="{287A013E-B4BE-485E-AE94-C2936752CD18}" dt="2020-09-30T14:30:55.985" v="112873"/>
          <ac:spMkLst>
            <pc:docMk/>
            <pc:sldMk cId="1605337167" sldId="265"/>
            <ac:spMk id="8" creationId="{24DBBEC1-2EBC-4025-BAED-993C2FA9EB18}"/>
          </ac:spMkLst>
        </pc:spChg>
        <pc:spChg chg="mod">
          <ac:chgData name="Ugo MANTEL" userId="2d5b7065-31bb-4181-a7f8-a73bf0c30211" providerId="ADAL" clId="{287A013E-B4BE-485E-AE94-C2936752CD18}" dt="2020-09-30T14:30:55.985" v="112872"/>
          <ac:spMkLst>
            <pc:docMk/>
            <pc:sldMk cId="1605337167" sldId="265"/>
            <ac:spMk id="43" creationId="{A9A0C130-CA17-448C-B406-947373E76974}"/>
          </ac:spMkLst>
        </pc:spChg>
        <pc:spChg chg="mod">
          <ac:chgData name="Ugo MANTEL" userId="2d5b7065-31bb-4181-a7f8-a73bf0c30211" providerId="ADAL" clId="{287A013E-B4BE-485E-AE94-C2936752CD18}" dt="2020-09-30T14:30:55.984" v="112870"/>
          <ac:spMkLst>
            <pc:docMk/>
            <pc:sldMk cId="1605337167" sldId="265"/>
            <ac:spMk id="44" creationId="{FDD0A22E-D044-4738-A846-D69DD4EC1C73}"/>
          </ac:spMkLst>
        </pc:spChg>
        <pc:spChg chg="mod">
          <ac:chgData name="Ugo MANTEL" userId="2d5b7065-31bb-4181-a7f8-a73bf0c30211" providerId="ADAL" clId="{287A013E-B4BE-485E-AE94-C2936752CD18}" dt="2020-09-30T14:30:55.986" v="112876"/>
          <ac:spMkLst>
            <pc:docMk/>
            <pc:sldMk cId="1605337167" sldId="265"/>
            <ac:spMk id="45" creationId="{5656A40E-94D2-4D19-9FCB-B644FC3F1A54}"/>
          </ac:spMkLst>
        </pc:spChg>
        <pc:spChg chg="mod">
          <ac:chgData name="Ugo MANTEL" userId="2d5b7065-31bb-4181-a7f8-a73bf0c30211" providerId="ADAL" clId="{287A013E-B4BE-485E-AE94-C2936752CD18}" dt="2020-09-30T14:30:55.986" v="112877"/>
          <ac:spMkLst>
            <pc:docMk/>
            <pc:sldMk cId="1605337167" sldId="265"/>
            <ac:spMk id="46" creationId="{46B3103C-B011-4050-9308-7682C2786A94}"/>
          </ac:spMkLst>
        </pc:spChg>
        <pc:spChg chg="mod">
          <ac:chgData name="Ugo MANTEL" userId="2d5b7065-31bb-4181-a7f8-a73bf0c30211" providerId="ADAL" clId="{287A013E-B4BE-485E-AE94-C2936752CD18}" dt="2020-09-30T14:30:55.987" v="112878"/>
          <ac:spMkLst>
            <pc:docMk/>
            <pc:sldMk cId="1605337167" sldId="265"/>
            <ac:spMk id="47" creationId="{6D559518-E8C1-46B8-9B52-9036FEE0B55E}"/>
          </ac:spMkLst>
        </pc:spChg>
        <pc:spChg chg="mod">
          <ac:chgData name="Ugo MANTEL" userId="2d5b7065-31bb-4181-a7f8-a73bf0c30211" providerId="ADAL" clId="{287A013E-B4BE-485E-AE94-C2936752CD18}" dt="2020-09-30T14:30:55.987" v="112879"/>
          <ac:spMkLst>
            <pc:docMk/>
            <pc:sldMk cId="1605337167" sldId="265"/>
            <ac:spMk id="48" creationId="{8C66A17F-8A18-4E0C-B25E-892F3E969D94}"/>
          </ac:spMkLst>
        </pc:spChg>
        <pc:spChg chg="mod ord">
          <ac:chgData name="Ugo MANTEL" userId="2d5b7065-31bb-4181-a7f8-a73bf0c30211" providerId="ADAL" clId="{287A013E-B4BE-485E-AE94-C2936752CD18}" dt="2020-09-30T14:30:55.990" v="112889"/>
          <ac:spMkLst>
            <pc:docMk/>
            <pc:sldMk cId="1605337167" sldId="265"/>
            <ac:spMk id="83" creationId="{B88B1108-0092-4AF0-9274-78C36552DF38}"/>
          </ac:spMkLst>
        </pc:spChg>
        <pc:spChg chg="mod ord">
          <ac:chgData name="Ugo MANTEL" userId="2d5b7065-31bb-4181-a7f8-a73bf0c30211" providerId="ADAL" clId="{287A013E-B4BE-485E-AE94-C2936752CD18}" dt="2020-09-30T14:30:55.993" v="112895"/>
          <ac:spMkLst>
            <pc:docMk/>
            <pc:sldMk cId="1605337167" sldId="265"/>
            <ac:spMk id="93" creationId="{C7A85204-D779-4BC9-8681-F532B6318218}"/>
          </ac:spMkLst>
        </pc:spChg>
        <pc:spChg chg="mod">
          <ac:chgData name="Ugo MANTEL" userId="2d5b7065-31bb-4181-a7f8-a73bf0c30211" providerId="ADAL" clId="{287A013E-B4BE-485E-AE94-C2936752CD18}" dt="2020-09-30T14:30:55.988" v="112882"/>
          <ac:spMkLst>
            <pc:docMk/>
            <pc:sldMk cId="1605337167" sldId="265"/>
            <ac:spMk id="96" creationId="{96ACD372-FEF3-47D1-B300-A297F400E38C}"/>
          </ac:spMkLst>
        </pc:spChg>
        <pc:spChg chg="mod">
          <ac:chgData name="Ugo MANTEL" userId="2d5b7065-31bb-4181-a7f8-a73bf0c30211" providerId="ADAL" clId="{287A013E-B4BE-485E-AE94-C2936752CD18}" dt="2020-09-30T14:30:55.988" v="112883"/>
          <ac:spMkLst>
            <pc:docMk/>
            <pc:sldMk cId="1605337167" sldId="265"/>
            <ac:spMk id="98" creationId="{1DE28F63-AB22-4CC0-A2FB-42770F0DA4C5}"/>
          </ac:spMkLst>
        </pc:spChg>
        <pc:spChg chg="mod">
          <ac:chgData name="Ugo MANTEL" userId="2d5b7065-31bb-4181-a7f8-a73bf0c30211" providerId="ADAL" clId="{287A013E-B4BE-485E-AE94-C2936752CD18}" dt="2020-09-30T14:30:55.988" v="112881"/>
          <ac:spMkLst>
            <pc:docMk/>
            <pc:sldMk cId="1605337167" sldId="265"/>
            <ac:spMk id="99" creationId="{B7012B39-405B-48CB-AB07-FC31E3EAF9AA}"/>
          </ac:spMkLst>
        </pc:spChg>
        <pc:spChg chg="mod">
          <ac:chgData name="Ugo MANTEL" userId="2d5b7065-31bb-4181-a7f8-a73bf0c30211" providerId="ADAL" clId="{287A013E-B4BE-485E-AE94-C2936752CD18}" dt="2020-09-30T14:30:55.988" v="112884"/>
          <ac:spMkLst>
            <pc:docMk/>
            <pc:sldMk cId="1605337167" sldId="265"/>
            <ac:spMk id="100" creationId="{BD03CE83-5B80-4222-9DF4-8B8CDD6253FD}"/>
          </ac:spMkLst>
        </pc:spChg>
        <pc:spChg chg="mod">
          <ac:chgData name="Ugo MANTEL" userId="2d5b7065-31bb-4181-a7f8-a73bf0c30211" providerId="ADAL" clId="{287A013E-B4BE-485E-AE94-C2936752CD18}" dt="2020-09-30T14:30:55.989" v="112885"/>
          <ac:spMkLst>
            <pc:docMk/>
            <pc:sldMk cId="1605337167" sldId="265"/>
            <ac:spMk id="101" creationId="{DE44398E-CA7D-423C-B470-AEEC17B9CEF1}"/>
          </ac:spMkLst>
        </pc:spChg>
        <pc:spChg chg="mod">
          <ac:chgData name="Ugo MANTEL" userId="2d5b7065-31bb-4181-a7f8-a73bf0c30211" providerId="ADAL" clId="{287A013E-B4BE-485E-AE94-C2936752CD18}" dt="2020-09-30T14:30:55.989" v="112886"/>
          <ac:spMkLst>
            <pc:docMk/>
            <pc:sldMk cId="1605337167" sldId="265"/>
            <ac:spMk id="102" creationId="{41BAEDB9-ABF1-40DF-B0EE-8DAE21411DCE}"/>
          </ac:spMkLst>
        </pc:spChg>
        <pc:spChg chg="mod">
          <ac:chgData name="Ugo MANTEL" userId="2d5b7065-31bb-4181-a7f8-a73bf0c30211" providerId="ADAL" clId="{287A013E-B4BE-485E-AE94-C2936752CD18}" dt="2020-09-30T14:30:55.989" v="112887"/>
          <ac:spMkLst>
            <pc:docMk/>
            <pc:sldMk cId="1605337167" sldId="265"/>
            <ac:spMk id="103" creationId="{19BD0584-735D-43A7-B72F-9CD40765384D}"/>
          </ac:spMkLst>
        </pc:spChg>
        <pc:spChg chg="mod">
          <ac:chgData name="Ugo MANTEL" userId="2d5b7065-31bb-4181-a7f8-a73bf0c30211" providerId="ADAL" clId="{287A013E-B4BE-485E-AE94-C2936752CD18}" dt="2020-09-30T14:30:55.985" v="112871"/>
          <ac:spMkLst>
            <pc:docMk/>
            <pc:sldMk cId="1605337167" sldId="265"/>
            <ac:spMk id="104" creationId="{ACB2F137-2C20-476F-8A5F-CB5C1DB3BABB}"/>
          </ac:spMkLst>
        </pc:spChg>
        <pc:spChg chg="mod">
          <ac:chgData name="Ugo MANTEL" userId="2d5b7065-31bb-4181-a7f8-a73bf0c30211" providerId="ADAL" clId="{287A013E-B4BE-485E-AE94-C2936752CD18}" dt="2020-09-30T14:30:55.987" v="112880"/>
          <ac:spMkLst>
            <pc:docMk/>
            <pc:sldMk cId="1605337167" sldId="265"/>
            <ac:spMk id="105" creationId="{F05CE6D0-53F8-4866-BBE8-08E714873EDF}"/>
          </ac:spMkLst>
        </pc:spChg>
        <pc:spChg chg="mod ord">
          <ac:chgData name="Ugo MANTEL" userId="2d5b7065-31bb-4181-a7f8-a73bf0c30211" providerId="ADAL" clId="{287A013E-B4BE-485E-AE94-C2936752CD18}" dt="2020-09-30T14:30:55.991" v="112891"/>
          <ac:spMkLst>
            <pc:docMk/>
            <pc:sldMk cId="1605337167" sldId="265"/>
            <ac:spMk id="120" creationId="{ACC55E45-D91A-4E5A-B55D-CC1C31EE3885}"/>
          </ac:spMkLst>
        </pc:spChg>
        <pc:spChg chg="mod ord">
          <ac:chgData name="Ugo MANTEL" userId="2d5b7065-31bb-4181-a7f8-a73bf0c30211" providerId="ADAL" clId="{287A013E-B4BE-485E-AE94-C2936752CD18}" dt="2020-09-30T14:30:55.992" v="112893"/>
          <ac:spMkLst>
            <pc:docMk/>
            <pc:sldMk cId="1605337167" sldId="265"/>
            <ac:spMk id="125" creationId="{D4489E23-9F70-4A58-BC89-401B9D993A86}"/>
          </ac:spMkLst>
        </pc:spChg>
        <pc:spChg chg="mod ord">
          <ac:chgData name="Ugo MANTEL" userId="2d5b7065-31bb-4181-a7f8-a73bf0c30211" providerId="ADAL" clId="{287A013E-B4BE-485E-AE94-C2936752CD18}" dt="2020-09-30T14:30:55.976" v="112849"/>
          <ac:spMkLst>
            <pc:docMk/>
            <pc:sldMk cId="1605337167" sldId="265"/>
            <ac:spMk id="130" creationId="{FF45CDC5-AEFC-4177-BDED-9F577489C7DE}"/>
          </ac:spMkLst>
        </pc:spChg>
        <pc:spChg chg="mod ord">
          <ac:chgData name="Ugo MANTEL" userId="2d5b7065-31bb-4181-a7f8-a73bf0c30211" providerId="ADAL" clId="{287A013E-B4BE-485E-AE94-C2936752CD18}" dt="2020-09-30T14:30:55.994" v="112897"/>
          <ac:spMkLst>
            <pc:docMk/>
            <pc:sldMk cId="1605337167" sldId="265"/>
            <ac:spMk id="148" creationId="{166C2580-7BC9-484F-8D0C-7A9FD06E5F01}"/>
          </ac:spMkLst>
        </pc:spChg>
        <pc:graphicFrameChg chg="mod ord">
          <ac:chgData name="Ugo MANTEL" userId="2d5b7065-31bb-4181-a7f8-a73bf0c30211" providerId="ADAL" clId="{287A013E-B4BE-485E-AE94-C2936752CD18}" dt="2020-09-30T14:30:55.998" v="112899"/>
          <ac:graphicFrameMkLst>
            <pc:docMk/>
            <pc:sldMk cId="1605337167" sldId="265"/>
            <ac:graphicFrameMk id="12" creationId="{D08690BD-9494-496C-A56C-12FDCA69AC24}"/>
          </ac:graphicFrameMkLst>
        </pc:graphicFrameChg>
        <pc:graphicFrameChg chg="add del mod ord">
          <ac:chgData name="Ugo MANTEL" userId="2d5b7065-31bb-4181-a7f8-a73bf0c30211" providerId="ADAL" clId="{287A013E-B4BE-485E-AE94-C2936752CD18}" dt="2020-09-30T14:30:55.954" v="112838"/>
          <ac:graphicFrameMkLst>
            <pc:docMk/>
            <pc:sldMk cId="1605337167" sldId="265"/>
            <ac:graphicFrameMk id="38" creationId="{830D9F34-3B92-4505-8B96-95A0894E2758}"/>
          </ac:graphicFrameMkLst>
        </pc:graphicFrameChg>
        <pc:graphicFrameChg chg="add mod ord">
          <ac:chgData name="Ugo MANTEL" userId="2d5b7065-31bb-4181-a7f8-a73bf0c30211" providerId="ADAL" clId="{287A013E-B4BE-485E-AE94-C2936752CD18}" dt="2020-09-30T14:30:55.978" v="112853"/>
          <ac:graphicFrameMkLst>
            <pc:docMk/>
            <pc:sldMk cId="1605337167" sldId="265"/>
            <ac:graphicFrameMk id="39" creationId="{13A1D5E3-F718-4C0C-B3F8-2030B3A2594E}"/>
          </ac:graphicFrameMkLst>
        </pc:graphicFrameChg>
        <pc:graphicFrameChg chg="del">
          <ac:chgData name="Ugo MANTEL" userId="2d5b7065-31bb-4181-a7f8-a73bf0c30211" providerId="ADAL" clId="{287A013E-B4BE-485E-AE94-C2936752CD18}" dt="2020-09-30T14:30:23.030" v="112607"/>
          <ac:graphicFrameMkLst>
            <pc:docMk/>
            <pc:sldMk cId="1605337167" sldId="265"/>
            <ac:graphicFrameMk id="60" creationId="{5D1622A0-1F53-4A71-87C1-678C04DD78C8}"/>
          </ac:graphicFrameMkLst>
        </pc:graphicFrameChg>
        <pc:cxnChg chg="mod ord">
          <ac:chgData name="Ugo MANTEL" userId="2d5b7065-31bb-4181-a7f8-a73bf0c30211" providerId="ADAL" clId="{287A013E-B4BE-485E-AE94-C2936752CD18}" dt="2020-09-30T14:30:55.978" v="112855"/>
          <ac:cxnSpMkLst>
            <pc:docMk/>
            <pc:sldMk cId="1605337167" sldId="265"/>
            <ac:cxnSpMk id="84" creationId="{4A55795F-D62D-4477-9539-82C28D7342E9}"/>
          </ac:cxnSpMkLst>
        </pc:cxnChg>
        <pc:cxnChg chg="mod ord">
          <ac:chgData name="Ugo MANTEL" userId="2d5b7065-31bb-4181-a7f8-a73bf0c30211" providerId="ADAL" clId="{287A013E-B4BE-485E-AE94-C2936752CD18}" dt="2020-09-30T14:30:55.984" v="112869"/>
          <ac:cxnSpMkLst>
            <pc:docMk/>
            <pc:sldMk cId="1605337167" sldId="265"/>
            <ac:cxnSpMk id="94" creationId="{E547190D-30A4-433B-BDA8-6D4B2FF9D2FD}"/>
          </ac:cxnSpMkLst>
        </pc:cxnChg>
        <pc:cxnChg chg="mod ord">
          <ac:chgData name="Ugo MANTEL" userId="2d5b7065-31bb-4181-a7f8-a73bf0c30211" providerId="ADAL" clId="{287A013E-B4BE-485E-AE94-C2936752CD18}" dt="2020-09-30T14:30:55.979" v="112857"/>
          <ac:cxnSpMkLst>
            <pc:docMk/>
            <pc:sldMk cId="1605337167" sldId="265"/>
            <ac:cxnSpMk id="121" creationId="{21F2F5BF-3771-483E-8D82-70890A498989}"/>
          </ac:cxnSpMkLst>
        </pc:cxnChg>
        <pc:cxnChg chg="mod ord">
          <ac:chgData name="Ugo MANTEL" userId="2d5b7065-31bb-4181-a7f8-a73bf0c30211" providerId="ADAL" clId="{287A013E-B4BE-485E-AE94-C2936752CD18}" dt="2020-09-30T14:30:55.980" v="112859"/>
          <ac:cxnSpMkLst>
            <pc:docMk/>
            <pc:sldMk cId="1605337167" sldId="265"/>
            <ac:cxnSpMk id="122" creationId="{CCA631A9-EBE4-4A26-8A9C-141C022FFF04}"/>
          </ac:cxnSpMkLst>
        </pc:cxnChg>
        <pc:cxnChg chg="mod ord">
          <ac:chgData name="Ugo MANTEL" userId="2d5b7065-31bb-4181-a7f8-a73bf0c30211" providerId="ADAL" clId="{287A013E-B4BE-485E-AE94-C2936752CD18}" dt="2020-09-30T14:30:55.981" v="112861"/>
          <ac:cxnSpMkLst>
            <pc:docMk/>
            <pc:sldMk cId="1605337167" sldId="265"/>
            <ac:cxnSpMk id="123" creationId="{B290A3BD-3963-4B7E-92DD-9A40BD168973}"/>
          </ac:cxnSpMkLst>
        </pc:cxnChg>
        <pc:cxnChg chg="mod ord">
          <ac:chgData name="Ugo MANTEL" userId="2d5b7065-31bb-4181-a7f8-a73bf0c30211" providerId="ADAL" clId="{287A013E-B4BE-485E-AE94-C2936752CD18}" dt="2020-09-30T14:30:55.982" v="112863"/>
          <ac:cxnSpMkLst>
            <pc:docMk/>
            <pc:sldMk cId="1605337167" sldId="265"/>
            <ac:cxnSpMk id="126" creationId="{FB66F5B6-FEBB-4558-8E36-6FA0131C39A3}"/>
          </ac:cxnSpMkLst>
        </pc:cxnChg>
        <pc:cxnChg chg="mod ord">
          <ac:chgData name="Ugo MANTEL" userId="2d5b7065-31bb-4181-a7f8-a73bf0c30211" providerId="ADAL" clId="{287A013E-B4BE-485E-AE94-C2936752CD18}" dt="2020-09-30T14:30:55.982" v="112865"/>
          <ac:cxnSpMkLst>
            <pc:docMk/>
            <pc:sldMk cId="1605337167" sldId="265"/>
            <ac:cxnSpMk id="127" creationId="{9F69BC4B-2350-4C37-9B91-5ACC1BCC5EBE}"/>
          </ac:cxnSpMkLst>
        </pc:cxnChg>
        <pc:cxnChg chg="mod ord">
          <ac:chgData name="Ugo MANTEL" userId="2d5b7065-31bb-4181-a7f8-a73bf0c30211" providerId="ADAL" clId="{287A013E-B4BE-485E-AE94-C2936752CD18}" dt="2020-09-30T14:30:55.983" v="112867"/>
          <ac:cxnSpMkLst>
            <pc:docMk/>
            <pc:sldMk cId="1605337167" sldId="265"/>
            <ac:cxnSpMk id="128" creationId="{0FC3E430-2D11-4503-8A56-046FC19B3A48}"/>
          </ac:cxnSpMkLst>
        </pc:cxnChg>
      </pc:sldChg>
      <pc:sldChg chg="addSp delSp modSp add mod">
        <pc:chgData name="Ugo MANTEL" userId="2d5b7065-31bb-4181-a7f8-a73bf0c30211" providerId="ADAL" clId="{287A013E-B4BE-485E-AE94-C2936752CD18}" dt="2020-09-30T14:31:38.717" v="113318"/>
        <pc:sldMkLst>
          <pc:docMk/>
          <pc:sldMk cId="2175714912" sldId="266"/>
        </pc:sldMkLst>
        <pc:spChg chg="mod ord">
          <ac:chgData name="Ugo MANTEL" userId="2d5b7065-31bb-4181-a7f8-a73bf0c30211" providerId="ADAL" clId="{287A013E-B4BE-485E-AE94-C2936752CD18}" dt="2020-09-30T14:31:38.691" v="113270"/>
          <ac:spMkLst>
            <pc:docMk/>
            <pc:sldMk cId="2175714912" sldId="266"/>
            <ac:spMk id="2" creationId="{74942BC8-F7FC-49E9-B296-00C71A2F51D5}"/>
          </ac:spMkLst>
        </pc:spChg>
        <pc:spChg chg="mod ord">
          <ac:chgData name="Ugo MANTEL" userId="2d5b7065-31bb-4181-a7f8-a73bf0c30211" providerId="ADAL" clId="{287A013E-B4BE-485E-AE94-C2936752CD18}" dt="2020-09-30T14:31:38.689" v="113266"/>
          <ac:spMkLst>
            <pc:docMk/>
            <pc:sldMk cId="2175714912" sldId="266"/>
            <ac:spMk id="4" creationId="{1D149B75-29E2-4A32-B447-52C1973EDED0}"/>
          </ac:spMkLst>
        </pc:spChg>
        <pc:spChg chg="mod">
          <ac:chgData name="Ugo MANTEL" userId="2d5b7065-31bb-4181-a7f8-a73bf0c30211" providerId="ADAL" clId="{287A013E-B4BE-485E-AE94-C2936752CD18}" dt="2020-09-30T14:31:38.703" v="113293"/>
          <ac:spMkLst>
            <pc:docMk/>
            <pc:sldMk cId="2175714912" sldId="266"/>
            <ac:spMk id="6" creationId="{20ABFB18-92B3-4581-849D-D6C5F42002DE}"/>
          </ac:spMkLst>
        </pc:spChg>
        <pc:spChg chg="mod">
          <ac:chgData name="Ugo MANTEL" userId="2d5b7065-31bb-4181-a7f8-a73bf0c30211" providerId="ADAL" clId="{287A013E-B4BE-485E-AE94-C2936752CD18}" dt="2020-09-30T14:31:38.704" v="113294"/>
          <ac:spMkLst>
            <pc:docMk/>
            <pc:sldMk cId="2175714912" sldId="266"/>
            <ac:spMk id="7" creationId="{8FD9938C-F978-46AE-BB3A-EDEDFF7FD70A}"/>
          </ac:spMkLst>
        </pc:spChg>
        <pc:spChg chg="mod">
          <ac:chgData name="Ugo MANTEL" userId="2d5b7065-31bb-4181-a7f8-a73bf0c30211" providerId="ADAL" clId="{287A013E-B4BE-485E-AE94-C2936752CD18}" dt="2020-09-30T14:31:38.704" v="113295"/>
          <ac:spMkLst>
            <pc:docMk/>
            <pc:sldMk cId="2175714912" sldId="266"/>
            <ac:spMk id="8" creationId="{24DBBEC1-2EBC-4025-BAED-993C2FA9EB18}"/>
          </ac:spMkLst>
        </pc:spChg>
        <pc:spChg chg="mod">
          <ac:chgData name="Ugo MANTEL" userId="2d5b7065-31bb-4181-a7f8-a73bf0c30211" providerId="ADAL" clId="{287A013E-B4BE-485E-AE94-C2936752CD18}" dt="2020-09-30T14:31:38.701" v="113289"/>
          <ac:spMkLst>
            <pc:docMk/>
            <pc:sldMk cId="2175714912" sldId="266"/>
            <ac:spMk id="43" creationId="{A9A0C130-CA17-448C-B406-947373E76974}"/>
          </ac:spMkLst>
        </pc:spChg>
        <pc:spChg chg="mod">
          <ac:chgData name="Ugo MANTEL" userId="2d5b7065-31bb-4181-a7f8-a73bf0c30211" providerId="ADAL" clId="{287A013E-B4BE-485E-AE94-C2936752CD18}" dt="2020-09-30T14:31:38.705" v="113297"/>
          <ac:spMkLst>
            <pc:docMk/>
            <pc:sldMk cId="2175714912" sldId="266"/>
            <ac:spMk id="44" creationId="{FDD0A22E-D044-4738-A846-D69DD4EC1C73}"/>
          </ac:spMkLst>
        </pc:spChg>
        <pc:spChg chg="mod">
          <ac:chgData name="Ugo MANTEL" userId="2d5b7065-31bb-4181-a7f8-a73bf0c30211" providerId="ADAL" clId="{287A013E-B4BE-485E-AE94-C2936752CD18}" dt="2020-09-30T14:31:38.705" v="113298"/>
          <ac:spMkLst>
            <pc:docMk/>
            <pc:sldMk cId="2175714912" sldId="266"/>
            <ac:spMk id="45" creationId="{5656A40E-94D2-4D19-9FCB-B644FC3F1A54}"/>
          </ac:spMkLst>
        </pc:spChg>
        <pc:spChg chg="mod">
          <ac:chgData name="Ugo MANTEL" userId="2d5b7065-31bb-4181-a7f8-a73bf0c30211" providerId="ADAL" clId="{287A013E-B4BE-485E-AE94-C2936752CD18}" dt="2020-09-30T14:31:38.702" v="113291"/>
          <ac:spMkLst>
            <pc:docMk/>
            <pc:sldMk cId="2175714912" sldId="266"/>
            <ac:spMk id="46" creationId="{46B3103C-B011-4050-9308-7682C2786A94}"/>
          </ac:spMkLst>
        </pc:spChg>
        <pc:spChg chg="mod">
          <ac:chgData name="Ugo MANTEL" userId="2d5b7065-31bb-4181-a7f8-a73bf0c30211" providerId="ADAL" clId="{287A013E-B4BE-485E-AE94-C2936752CD18}" dt="2020-09-30T14:31:38.701" v="113290"/>
          <ac:spMkLst>
            <pc:docMk/>
            <pc:sldMk cId="2175714912" sldId="266"/>
            <ac:spMk id="47" creationId="{6D559518-E8C1-46B8-9B52-9036FEE0B55E}"/>
          </ac:spMkLst>
        </pc:spChg>
        <pc:spChg chg="mod">
          <ac:chgData name="Ugo MANTEL" userId="2d5b7065-31bb-4181-a7f8-a73bf0c30211" providerId="ADAL" clId="{287A013E-B4BE-485E-AE94-C2936752CD18}" dt="2020-09-30T14:31:38.705" v="113299"/>
          <ac:spMkLst>
            <pc:docMk/>
            <pc:sldMk cId="2175714912" sldId="266"/>
            <ac:spMk id="48" creationId="{8C66A17F-8A18-4E0C-B25E-892F3E969D94}"/>
          </ac:spMkLst>
        </pc:spChg>
        <pc:spChg chg="mod ord">
          <ac:chgData name="Ugo MANTEL" userId="2d5b7065-31bb-4181-a7f8-a73bf0c30211" providerId="ADAL" clId="{287A013E-B4BE-485E-AE94-C2936752CD18}" dt="2020-09-30T14:31:38.708" v="113308"/>
          <ac:spMkLst>
            <pc:docMk/>
            <pc:sldMk cId="2175714912" sldId="266"/>
            <ac:spMk id="83" creationId="{B88B1108-0092-4AF0-9274-78C36552DF38}"/>
          </ac:spMkLst>
        </pc:spChg>
        <pc:spChg chg="mod ord">
          <ac:chgData name="Ugo MANTEL" userId="2d5b7065-31bb-4181-a7f8-a73bf0c30211" providerId="ADAL" clId="{287A013E-B4BE-485E-AE94-C2936752CD18}" dt="2020-09-30T14:31:38.711" v="113314"/>
          <ac:spMkLst>
            <pc:docMk/>
            <pc:sldMk cId="2175714912" sldId="266"/>
            <ac:spMk id="93" creationId="{C7A85204-D779-4BC9-8681-F532B6318218}"/>
          </ac:spMkLst>
        </pc:spChg>
        <pc:spChg chg="mod">
          <ac:chgData name="Ugo MANTEL" userId="2d5b7065-31bb-4181-a7f8-a73bf0c30211" providerId="ADAL" clId="{287A013E-B4BE-485E-AE94-C2936752CD18}" dt="2020-09-30T14:31:38.705" v="113300"/>
          <ac:spMkLst>
            <pc:docMk/>
            <pc:sldMk cId="2175714912" sldId="266"/>
            <ac:spMk id="96" creationId="{96ACD372-FEF3-47D1-B300-A297F400E38C}"/>
          </ac:spMkLst>
        </pc:spChg>
        <pc:spChg chg="mod">
          <ac:chgData name="Ugo MANTEL" userId="2d5b7065-31bb-4181-a7f8-a73bf0c30211" providerId="ADAL" clId="{287A013E-B4BE-485E-AE94-C2936752CD18}" dt="2020-09-30T14:31:38.706" v="113301"/>
          <ac:spMkLst>
            <pc:docMk/>
            <pc:sldMk cId="2175714912" sldId="266"/>
            <ac:spMk id="98" creationId="{1DE28F63-AB22-4CC0-A2FB-42770F0DA4C5}"/>
          </ac:spMkLst>
        </pc:spChg>
        <pc:spChg chg="mod">
          <ac:chgData name="Ugo MANTEL" userId="2d5b7065-31bb-4181-a7f8-a73bf0c30211" providerId="ADAL" clId="{287A013E-B4BE-485E-AE94-C2936752CD18}" dt="2020-09-30T14:31:38.703" v="113292"/>
          <ac:spMkLst>
            <pc:docMk/>
            <pc:sldMk cId="2175714912" sldId="266"/>
            <ac:spMk id="99" creationId="{B7012B39-405B-48CB-AB07-FC31E3EAF9AA}"/>
          </ac:spMkLst>
        </pc:spChg>
        <pc:spChg chg="mod">
          <ac:chgData name="Ugo MANTEL" userId="2d5b7065-31bb-4181-a7f8-a73bf0c30211" providerId="ADAL" clId="{287A013E-B4BE-485E-AE94-C2936752CD18}" dt="2020-09-30T14:31:38.706" v="113302"/>
          <ac:spMkLst>
            <pc:docMk/>
            <pc:sldMk cId="2175714912" sldId="266"/>
            <ac:spMk id="100" creationId="{BD03CE83-5B80-4222-9DF4-8B8CDD6253FD}"/>
          </ac:spMkLst>
        </pc:spChg>
        <pc:spChg chg="mod">
          <ac:chgData name="Ugo MANTEL" userId="2d5b7065-31bb-4181-a7f8-a73bf0c30211" providerId="ADAL" clId="{287A013E-B4BE-485E-AE94-C2936752CD18}" dt="2020-09-30T14:31:38.706" v="113303"/>
          <ac:spMkLst>
            <pc:docMk/>
            <pc:sldMk cId="2175714912" sldId="266"/>
            <ac:spMk id="101" creationId="{DE44398E-CA7D-423C-B470-AEEC17B9CEF1}"/>
          </ac:spMkLst>
        </pc:spChg>
        <pc:spChg chg="mod">
          <ac:chgData name="Ugo MANTEL" userId="2d5b7065-31bb-4181-a7f8-a73bf0c30211" providerId="ADAL" clId="{287A013E-B4BE-485E-AE94-C2936752CD18}" dt="2020-09-30T14:31:38.707" v="113304"/>
          <ac:spMkLst>
            <pc:docMk/>
            <pc:sldMk cId="2175714912" sldId="266"/>
            <ac:spMk id="102" creationId="{41BAEDB9-ABF1-40DF-B0EE-8DAE21411DCE}"/>
          </ac:spMkLst>
        </pc:spChg>
        <pc:spChg chg="mod">
          <ac:chgData name="Ugo MANTEL" userId="2d5b7065-31bb-4181-a7f8-a73bf0c30211" providerId="ADAL" clId="{287A013E-B4BE-485E-AE94-C2936752CD18}" dt="2020-09-30T14:31:38.704" v="113296"/>
          <ac:spMkLst>
            <pc:docMk/>
            <pc:sldMk cId="2175714912" sldId="266"/>
            <ac:spMk id="103" creationId="{19BD0584-735D-43A7-B72F-9CD40765384D}"/>
          </ac:spMkLst>
        </pc:spChg>
        <pc:spChg chg="mod">
          <ac:chgData name="Ugo MANTEL" userId="2d5b7065-31bb-4181-a7f8-a73bf0c30211" providerId="ADAL" clId="{287A013E-B4BE-485E-AE94-C2936752CD18}" dt="2020-09-30T14:31:38.707" v="113305"/>
          <ac:spMkLst>
            <pc:docMk/>
            <pc:sldMk cId="2175714912" sldId="266"/>
            <ac:spMk id="104" creationId="{ACB2F137-2C20-476F-8A5F-CB5C1DB3BABB}"/>
          </ac:spMkLst>
        </pc:spChg>
        <pc:spChg chg="mod">
          <ac:chgData name="Ugo MANTEL" userId="2d5b7065-31bb-4181-a7f8-a73bf0c30211" providerId="ADAL" clId="{287A013E-B4BE-485E-AE94-C2936752CD18}" dt="2020-09-30T14:31:38.707" v="113306"/>
          <ac:spMkLst>
            <pc:docMk/>
            <pc:sldMk cId="2175714912" sldId="266"/>
            <ac:spMk id="105" creationId="{F05CE6D0-53F8-4866-BBE8-08E714873EDF}"/>
          </ac:spMkLst>
        </pc:spChg>
        <pc:spChg chg="mod ord">
          <ac:chgData name="Ugo MANTEL" userId="2d5b7065-31bb-4181-a7f8-a73bf0c30211" providerId="ADAL" clId="{287A013E-B4BE-485E-AE94-C2936752CD18}" dt="2020-09-30T14:31:38.709" v="113310"/>
          <ac:spMkLst>
            <pc:docMk/>
            <pc:sldMk cId="2175714912" sldId="266"/>
            <ac:spMk id="120" creationId="{ACC55E45-D91A-4E5A-B55D-CC1C31EE3885}"/>
          </ac:spMkLst>
        </pc:spChg>
        <pc:spChg chg="mod ord">
          <ac:chgData name="Ugo MANTEL" userId="2d5b7065-31bb-4181-a7f8-a73bf0c30211" providerId="ADAL" clId="{287A013E-B4BE-485E-AE94-C2936752CD18}" dt="2020-09-30T14:31:38.710" v="113312"/>
          <ac:spMkLst>
            <pc:docMk/>
            <pc:sldMk cId="2175714912" sldId="266"/>
            <ac:spMk id="125" creationId="{D4489E23-9F70-4A58-BC89-401B9D993A86}"/>
          </ac:spMkLst>
        </pc:spChg>
        <pc:spChg chg="mod ord">
          <ac:chgData name="Ugo MANTEL" userId="2d5b7065-31bb-4181-a7f8-a73bf0c30211" providerId="ADAL" clId="{287A013E-B4BE-485E-AE94-C2936752CD18}" dt="2020-09-30T14:31:38.690" v="113268"/>
          <ac:spMkLst>
            <pc:docMk/>
            <pc:sldMk cId="2175714912" sldId="266"/>
            <ac:spMk id="130" creationId="{FF45CDC5-AEFC-4177-BDED-9F577489C7DE}"/>
          </ac:spMkLst>
        </pc:spChg>
        <pc:spChg chg="mod ord">
          <ac:chgData name="Ugo MANTEL" userId="2d5b7065-31bb-4181-a7f8-a73bf0c30211" providerId="ADAL" clId="{287A013E-B4BE-485E-AE94-C2936752CD18}" dt="2020-09-30T14:31:38.712" v="113316"/>
          <ac:spMkLst>
            <pc:docMk/>
            <pc:sldMk cId="2175714912" sldId="266"/>
            <ac:spMk id="148" creationId="{166C2580-7BC9-484F-8D0C-7A9FD06E5F01}"/>
          </ac:spMkLst>
        </pc:spChg>
        <pc:graphicFrameChg chg="mod ord">
          <ac:chgData name="Ugo MANTEL" userId="2d5b7065-31bb-4181-a7f8-a73bf0c30211" providerId="ADAL" clId="{287A013E-B4BE-485E-AE94-C2936752CD18}" dt="2020-09-30T14:31:38.717" v="113318"/>
          <ac:graphicFrameMkLst>
            <pc:docMk/>
            <pc:sldMk cId="2175714912" sldId="266"/>
            <ac:graphicFrameMk id="12" creationId="{D08690BD-9494-496C-A56C-12FDCA69AC24}"/>
          </ac:graphicFrameMkLst>
        </pc:graphicFrameChg>
        <pc:graphicFrameChg chg="add mod ord">
          <ac:chgData name="Ugo MANTEL" userId="2d5b7065-31bb-4181-a7f8-a73bf0c30211" providerId="ADAL" clId="{287A013E-B4BE-485E-AE94-C2936752CD18}" dt="2020-09-30T14:31:38.692" v="113272"/>
          <ac:graphicFrameMkLst>
            <pc:docMk/>
            <pc:sldMk cId="2175714912" sldId="266"/>
            <ac:graphicFrameMk id="38" creationId="{5A9D14DB-FE2D-4AF4-9619-D721D7BAF927}"/>
          </ac:graphicFrameMkLst>
        </pc:graphicFrameChg>
        <pc:graphicFrameChg chg="del">
          <ac:chgData name="Ugo MANTEL" userId="2d5b7065-31bb-4181-a7f8-a73bf0c30211" providerId="ADAL" clId="{287A013E-B4BE-485E-AE94-C2936752CD18}" dt="2020-09-30T14:31:38.669" v="113257"/>
          <ac:graphicFrameMkLst>
            <pc:docMk/>
            <pc:sldMk cId="2175714912" sldId="266"/>
            <ac:graphicFrameMk id="60" creationId="{5D1622A0-1F53-4A71-87C1-678C04DD78C8}"/>
          </ac:graphicFrameMkLst>
        </pc:graphicFrameChg>
        <pc:cxnChg chg="mod ord">
          <ac:chgData name="Ugo MANTEL" userId="2d5b7065-31bb-4181-a7f8-a73bf0c30211" providerId="ADAL" clId="{287A013E-B4BE-485E-AE94-C2936752CD18}" dt="2020-09-30T14:31:38.693" v="113274"/>
          <ac:cxnSpMkLst>
            <pc:docMk/>
            <pc:sldMk cId="2175714912" sldId="266"/>
            <ac:cxnSpMk id="84" creationId="{4A55795F-D62D-4477-9539-82C28D7342E9}"/>
          </ac:cxnSpMkLst>
        </pc:cxnChg>
        <pc:cxnChg chg="mod ord">
          <ac:chgData name="Ugo MANTEL" userId="2d5b7065-31bb-4181-a7f8-a73bf0c30211" providerId="ADAL" clId="{287A013E-B4BE-485E-AE94-C2936752CD18}" dt="2020-09-30T14:31:38.700" v="113288"/>
          <ac:cxnSpMkLst>
            <pc:docMk/>
            <pc:sldMk cId="2175714912" sldId="266"/>
            <ac:cxnSpMk id="94" creationId="{E547190D-30A4-433B-BDA8-6D4B2FF9D2FD}"/>
          </ac:cxnSpMkLst>
        </pc:cxnChg>
        <pc:cxnChg chg="mod ord">
          <ac:chgData name="Ugo MANTEL" userId="2d5b7065-31bb-4181-a7f8-a73bf0c30211" providerId="ADAL" clId="{287A013E-B4BE-485E-AE94-C2936752CD18}" dt="2020-09-30T14:31:38.694" v="113276"/>
          <ac:cxnSpMkLst>
            <pc:docMk/>
            <pc:sldMk cId="2175714912" sldId="266"/>
            <ac:cxnSpMk id="121" creationId="{21F2F5BF-3771-483E-8D82-70890A498989}"/>
          </ac:cxnSpMkLst>
        </pc:cxnChg>
        <pc:cxnChg chg="mod ord">
          <ac:chgData name="Ugo MANTEL" userId="2d5b7065-31bb-4181-a7f8-a73bf0c30211" providerId="ADAL" clId="{287A013E-B4BE-485E-AE94-C2936752CD18}" dt="2020-09-30T14:31:38.695" v="113278"/>
          <ac:cxnSpMkLst>
            <pc:docMk/>
            <pc:sldMk cId="2175714912" sldId="266"/>
            <ac:cxnSpMk id="122" creationId="{CCA631A9-EBE4-4A26-8A9C-141C022FFF04}"/>
          </ac:cxnSpMkLst>
        </pc:cxnChg>
        <pc:cxnChg chg="mod ord">
          <ac:chgData name="Ugo MANTEL" userId="2d5b7065-31bb-4181-a7f8-a73bf0c30211" providerId="ADAL" clId="{287A013E-B4BE-485E-AE94-C2936752CD18}" dt="2020-09-30T14:31:38.696" v="113280"/>
          <ac:cxnSpMkLst>
            <pc:docMk/>
            <pc:sldMk cId="2175714912" sldId="266"/>
            <ac:cxnSpMk id="123" creationId="{B290A3BD-3963-4B7E-92DD-9A40BD168973}"/>
          </ac:cxnSpMkLst>
        </pc:cxnChg>
        <pc:cxnChg chg="mod ord">
          <ac:chgData name="Ugo MANTEL" userId="2d5b7065-31bb-4181-a7f8-a73bf0c30211" providerId="ADAL" clId="{287A013E-B4BE-485E-AE94-C2936752CD18}" dt="2020-09-30T14:31:38.697" v="113282"/>
          <ac:cxnSpMkLst>
            <pc:docMk/>
            <pc:sldMk cId="2175714912" sldId="266"/>
            <ac:cxnSpMk id="126" creationId="{FB66F5B6-FEBB-4558-8E36-6FA0131C39A3}"/>
          </ac:cxnSpMkLst>
        </pc:cxnChg>
        <pc:cxnChg chg="mod ord">
          <ac:chgData name="Ugo MANTEL" userId="2d5b7065-31bb-4181-a7f8-a73bf0c30211" providerId="ADAL" clId="{287A013E-B4BE-485E-AE94-C2936752CD18}" dt="2020-09-30T14:31:38.698" v="113284"/>
          <ac:cxnSpMkLst>
            <pc:docMk/>
            <pc:sldMk cId="2175714912" sldId="266"/>
            <ac:cxnSpMk id="127" creationId="{9F69BC4B-2350-4C37-9B91-5ACC1BCC5EBE}"/>
          </ac:cxnSpMkLst>
        </pc:cxnChg>
        <pc:cxnChg chg="mod ord">
          <ac:chgData name="Ugo MANTEL" userId="2d5b7065-31bb-4181-a7f8-a73bf0c30211" providerId="ADAL" clId="{287A013E-B4BE-485E-AE94-C2936752CD18}" dt="2020-09-30T14:31:38.699" v="113286"/>
          <ac:cxnSpMkLst>
            <pc:docMk/>
            <pc:sldMk cId="2175714912" sldId="266"/>
            <ac:cxnSpMk id="128" creationId="{0FC3E430-2D11-4503-8A56-046FC19B3A48}"/>
          </ac:cxnSpMkLst>
        </pc:cxnChg>
      </pc:sldChg>
      <pc:sldChg chg="addSp delSp modSp add mod">
        <pc:chgData name="Ugo MANTEL" userId="2d5b7065-31bb-4181-a7f8-a73bf0c30211" providerId="ADAL" clId="{287A013E-B4BE-485E-AE94-C2936752CD18}" dt="2020-09-30T14:45:02.766" v="113745"/>
        <pc:sldMkLst>
          <pc:docMk/>
          <pc:sldMk cId="3346278320" sldId="267"/>
        </pc:sldMkLst>
        <pc:spChg chg="mod ord">
          <ac:chgData name="Ugo MANTEL" userId="2d5b7065-31bb-4181-a7f8-a73bf0c30211" providerId="ADAL" clId="{287A013E-B4BE-485E-AE94-C2936752CD18}" dt="2020-09-30T14:45:02.749" v="113697"/>
          <ac:spMkLst>
            <pc:docMk/>
            <pc:sldMk cId="3346278320" sldId="267"/>
            <ac:spMk id="2" creationId="{74942BC8-F7FC-49E9-B296-00C71A2F51D5}"/>
          </ac:spMkLst>
        </pc:spChg>
        <pc:spChg chg="mod ord">
          <ac:chgData name="Ugo MANTEL" userId="2d5b7065-31bb-4181-a7f8-a73bf0c30211" providerId="ADAL" clId="{287A013E-B4BE-485E-AE94-C2936752CD18}" dt="2020-09-30T14:45:02.748" v="113693"/>
          <ac:spMkLst>
            <pc:docMk/>
            <pc:sldMk cId="3346278320" sldId="267"/>
            <ac:spMk id="4" creationId="{1D149B75-29E2-4A32-B447-52C1973EDED0}"/>
          </ac:spMkLst>
        </pc:spChg>
        <pc:spChg chg="mod">
          <ac:chgData name="Ugo MANTEL" userId="2d5b7065-31bb-4181-a7f8-a73bf0c30211" providerId="ADAL" clId="{287A013E-B4BE-485E-AE94-C2936752CD18}" dt="2020-09-30T14:45:02.757" v="113721"/>
          <ac:spMkLst>
            <pc:docMk/>
            <pc:sldMk cId="3346278320" sldId="267"/>
            <ac:spMk id="6" creationId="{20ABFB18-92B3-4581-849D-D6C5F42002DE}"/>
          </ac:spMkLst>
        </pc:spChg>
        <pc:spChg chg="mod">
          <ac:chgData name="Ugo MANTEL" userId="2d5b7065-31bb-4181-a7f8-a73bf0c30211" providerId="ADAL" clId="{287A013E-B4BE-485E-AE94-C2936752CD18}" dt="2020-09-30T14:45:02.757" v="113720"/>
          <ac:spMkLst>
            <pc:docMk/>
            <pc:sldMk cId="3346278320" sldId="267"/>
            <ac:spMk id="7" creationId="{8FD9938C-F978-46AE-BB3A-EDEDFF7FD70A}"/>
          </ac:spMkLst>
        </pc:spChg>
        <pc:spChg chg="mod">
          <ac:chgData name="Ugo MANTEL" userId="2d5b7065-31bb-4181-a7f8-a73bf0c30211" providerId="ADAL" clId="{287A013E-B4BE-485E-AE94-C2936752CD18}" dt="2020-09-30T14:45:02.756" v="113717"/>
          <ac:spMkLst>
            <pc:docMk/>
            <pc:sldMk cId="3346278320" sldId="267"/>
            <ac:spMk id="8" creationId="{24DBBEC1-2EBC-4025-BAED-993C2FA9EB18}"/>
          </ac:spMkLst>
        </pc:spChg>
        <pc:spChg chg="mod">
          <ac:chgData name="Ugo MANTEL" userId="2d5b7065-31bb-4181-a7f8-a73bf0c30211" providerId="ADAL" clId="{287A013E-B4BE-485E-AE94-C2936752CD18}" dt="2020-09-30T14:45:02.758" v="113723"/>
          <ac:spMkLst>
            <pc:docMk/>
            <pc:sldMk cId="3346278320" sldId="267"/>
            <ac:spMk id="43" creationId="{A9A0C130-CA17-448C-B406-947373E76974}"/>
          </ac:spMkLst>
        </pc:spChg>
        <pc:spChg chg="mod">
          <ac:chgData name="Ugo MANTEL" userId="2d5b7065-31bb-4181-a7f8-a73bf0c30211" providerId="ADAL" clId="{287A013E-B4BE-485E-AE94-C2936752CD18}" dt="2020-09-30T14:45:02.757" v="113722"/>
          <ac:spMkLst>
            <pc:docMk/>
            <pc:sldMk cId="3346278320" sldId="267"/>
            <ac:spMk id="44" creationId="{FDD0A22E-D044-4738-A846-D69DD4EC1C73}"/>
          </ac:spMkLst>
        </pc:spChg>
        <pc:spChg chg="mod">
          <ac:chgData name="Ugo MANTEL" userId="2d5b7065-31bb-4181-a7f8-a73bf0c30211" providerId="ADAL" clId="{287A013E-B4BE-485E-AE94-C2936752CD18}" dt="2020-09-30T14:45:02.758" v="113725"/>
          <ac:spMkLst>
            <pc:docMk/>
            <pc:sldMk cId="3346278320" sldId="267"/>
            <ac:spMk id="45" creationId="{5656A40E-94D2-4D19-9FCB-B644FC3F1A54}"/>
          </ac:spMkLst>
        </pc:spChg>
        <pc:spChg chg="mod">
          <ac:chgData name="Ugo MANTEL" userId="2d5b7065-31bb-4181-a7f8-a73bf0c30211" providerId="ADAL" clId="{287A013E-B4BE-485E-AE94-C2936752CD18}" dt="2020-09-30T14:45:02.758" v="113724"/>
          <ac:spMkLst>
            <pc:docMk/>
            <pc:sldMk cId="3346278320" sldId="267"/>
            <ac:spMk id="46" creationId="{46B3103C-B011-4050-9308-7682C2786A94}"/>
          </ac:spMkLst>
        </pc:spChg>
        <pc:spChg chg="mod">
          <ac:chgData name="Ugo MANTEL" userId="2d5b7065-31bb-4181-a7f8-a73bf0c30211" providerId="ADAL" clId="{287A013E-B4BE-485E-AE94-C2936752CD18}" dt="2020-09-30T14:45:02.756" v="113718"/>
          <ac:spMkLst>
            <pc:docMk/>
            <pc:sldMk cId="3346278320" sldId="267"/>
            <ac:spMk id="47" creationId="{6D559518-E8C1-46B8-9B52-9036FEE0B55E}"/>
          </ac:spMkLst>
        </pc:spChg>
        <pc:spChg chg="mod">
          <ac:chgData name="Ugo MANTEL" userId="2d5b7065-31bb-4181-a7f8-a73bf0c30211" providerId="ADAL" clId="{287A013E-B4BE-485E-AE94-C2936752CD18}" dt="2020-09-30T14:45:02.757" v="113719"/>
          <ac:spMkLst>
            <pc:docMk/>
            <pc:sldMk cId="3346278320" sldId="267"/>
            <ac:spMk id="48" creationId="{8C66A17F-8A18-4E0C-B25E-892F3E969D94}"/>
          </ac:spMkLst>
        </pc:spChg>
        <pc:spChg chg="mod ord">
          <ac:chgData name="Ugo MANTEL" userId="2d5b7065-31bb-4181-a7f8-a73bf0c30211" providerId="ADAL" clId="{287A013E-B4BE-485E-AE94-C2936752CD18}" dt="2020-09-30T14:45:02.760" v="113735"/>
          <ac:spMkLst>
            <pc:docMk/>
            <pc:sldMk cId="3346278320" sldId="267"/>
            <ac:spMk id="83" creationId="{B88B1108-0092-4AF0-9274-78C36552DF38}"/>
          </ac:spMkLst>
        </pc:spChg>
        <pc:spChg chg="mod ord">
          <ac:chgData name="Ugo MANTEL" userId="2d5b7065-31bb-4181-a7f8-a73bf0c30211" providerId="ADAL" clId="{287A013E-B4BE-485E-AE94-C2936752CD18}" dt="2020-09-30T14:45:02.762" v="113741"/>
          <ac:spMkLst>
            <pc:docMk/>
            <pc:sldMk cId="3346278320" sldId="267"/>
            <ac:spMk id="93" creationId="{C7A85204-D779-4BC9-8681-F532B6318218}"/>
          </ac:spMkLst>
        </pc:spChg>
        <pc:spChg chg="mod">
          <ac:chgData name="Ugo MANTEL" userId="2d5b7065-31bb-4181-a7f8-a73bf0c30211" providerId="ADAL" clId="{287A013E-B4BE-485E-AE94-C2936752CD18}" dt="2020-09-30T14:45:02.756" v="113716"/>
          <ac:spMkLst>
            <pc:docMk/>
            <pc:sldMk cId="3346278320" sldId="267"/>
            <ac:spMk id="96" creationId="{96ACD372-FEF3-47D1-B300-A297F400E38C}"/>
          </ac:spMkLst>
        </pc:spChg>
        <pc:spChg chg="mod">
          <ac:chgData name="Ugo MANTEL" userId="2d5b7065-31bb-4181-a7f8-a73bf0c30211" providerId="ADAL" clId="{287A013E-B4BE-485E-AE94-C2936752CD18}" dt="2020-09-30T14:45:02.759" v="113730"/>
          <ac:spMkLst>
            <pc:docMk/>
            <pc:sldMk cId="3346278320" sldId="267"/>
            <ac:spMk id="98" creationId="{1DE28F63-AB22-4CC0-A2FB-42770F0DA4C5}"/>
          </ac:spMkLst>
        </pc:spChg>
        <pc:spChg chg="mod">
          <ac:chgData name="Ugo MANTEL" userId="2d5b7065-31bb-4181-a7f8-a73bf0c30211" providerId="ADAL" clId="{287A013E-B4BE-485E-AE94-C2936752CD18}" dt="2020-09-30T14:45:02.759" v="113731"/>
          <ac:spMkLst>
            <pc:docMk/>
            <pc:sldMk cId="3346278320" sldId="267"/>
            <ac:spMk id="99" creationId="{B7012B39-405B-48CB-AB07-FC31E3EAF9AA}"/>
          </ac:spMkLst>
        </pc:spChg>
        <pc:spChg chg="mod">
          <ac:chgData name="Ugo MANTEL" userId="2d5b7065-31bb-4181-a7f8-a73bf0c30211" providerId="ADAL" clId="{287A013E-B4BE-485E-AE94-C2936752CD18}" dt="2020-09-30T14:45:02.758" v="113727"/>
          <ac:spMkLst>
            <pc:docMk/>
            <pc:sldMk cId="3346278320" sldId="267"/>
            <ac:spMk id="100" creationId="{BD03CE83-5B80-4222-9DF4-8B8CDD6253FD}"/>
          </ac:spMkLst>
        </pc:spChg>
        <pc:spChg chg="mod">
          <ac:chgData name="Ugo MANTEL" userId="2d5b7065-31bb-4181-a7f8-a73bf0c30211" providerId="ADAL" clId="{287A013E-B4BE-485E-AE94-C2936752CD18}" dt="2020-09-30T14:45:02.758" v="113726"/>
          <ac:spMkLst>
            <pc:docMk/>
            <pc:sldMk cId="3346278320" sldId="267"/>
            <ac:spMk id="101" creationId="{DE44398E-CA7D-423C-B470-AEEC17B9CEF1}"/>
          </ac:spMkLst>
        </pc:spChg>
        <pc:spChg chg="mod">
          <ac:chgData name="Ugo MANTEL" userId="2d5b7065-31bb-4181-a7f8-a73bf0c30211" providerId="ADAL" clId="{287A013E-B4BE-485E-AE94-C2936752CD18}" dt="2020-09-30T14:45:02.759" v="113729"/>
          <ac:spMkLst>
            <pc:docMk/>
            <pc:sldMk cId="3346278320" sldId="267"/>
            <ac:spMk id="102" creationId="{41BAEDB9-ABF1-40DF-B0EE-8DAE21411DCE}"/>
          </ac:spMkLst>
        </pc:spChg>
        <pc:spChg chg="mod">
          <ac:chgData name="Ugo MANTEL" userId="2d5b7065-31bb-4181-a7f8-a73bf0c30211" providerId="ADAL" clId="{287A013E-B4BE-485E-AE94-C2936752CD18}" dt="2020-09-30T14:45:02.759" v="113728"/>
          <ac:spMkLst>
            <pc:docMk/>
            <pc:sldMk cId="3346278320" sldId="267"/>
            <ac:spMk id="103" creationId="{19BD0584-735D-43A7-B72F-9CD40765384D}"/>
          </ac:spMkLst>
        </pc:spChg>
        <pc:spChg chg="mod">
          <ac:chgData name="Ugo MANTEL" userId="2d5b7065-31bb-4181-a7f8-a73bf0c30211" providerId="ADAL" clId="{287A013E-B4BE-485E-AE94-C2936752CD18}" dt="2020-09-30T14:45:02.760" v="113732"/>
          <ac:spMkLst>
            <pc:docMk/>
            <pc:sldMk cId="3346278320" sldId="267"/>
            <ac:spMk id="104" creationId="{ACB2F137-2C20-476F-8A5F-CB5C1DB3BABB}"/>
          </ac:spMkLst>
        </pc:spChg>
        <pc:spChg chg="mod">
          <ac:chgData name="Ugo MANTEL" userId="2d5b7065-31bb-4181-a7f8-a73bf0c30211" providerId="ADAL" clId="{287A013E-B4BE-485E-AE94-C2936752CD18}" dt="2020-09-30T14:45:02.760" v="113733"/>
          <ac:spMkLst>
            <pc:docMk/>
            <pc:sldMk cId="3346278320" sldId="267"/>
            <ac:spMk id="105" creationId="{F05CE6D0-53F8-4866-BBE8-08E714873EDF}"/>
          </ac:spMkLst>
        </pc:spChg>
        <pc:spChg chg="mod ord">
          <ac:chgData name="Ugo MANTEL" userId="2d5b7065-31bb-4181-a7f8-a73bf0c30211" providerId="ADAL" clId="{287A013E-B4BE-485E-AE94-C2936752CD18}" dt="2020-09-30T14:45:02.761" v="113737"/>
          <ac:spMkLst>
            <pc:docMk/>
            <pc:sldMk cId="3346278320" sldId="267"/>
            <ac:spMk id="120" creationId="{ACC55E45-D91A-4E5A-B55D-CC1C31EE3885}"/>
          </ac:spMkLst>
        </pc:spChg>
        <pc:spChg chg="mod ord">
          <ac:chgData name="Ugo MANTEL" userId="2d5b7065-31bb-4181-a7f8-a73bf0c30211" providerId="ADAL" clId="{287A013E-B4BE-485E-AE94-C2936752CD18}" dt="2020-09-30T14:45:02.761" v="113739"/>
          <ac:spMkLst>
            <pc:docMk/>
            <pc:sldMk cId="3346278320" sldId="267"/>
            <ac:spMk id="125" creationId="{D4489E23-9F70-4A58-BC89-401B9D993A86}"/>
          </ac:spMkLst>
        </pc:spChg>
        <pc:spChg chg="mod ord">
          <ac:chgData name="Ugo MANTEL" userId="2d5b7065-31bb-4181-a7f8-a73bf0c30211" providerId="ADAL" clId="{287A013E-B4BE-485E-AE94-C2936752CD18}" dt="2020-09-30T14:45:02.749" v="113695"/>
          <ac:spMkLst>
            <pc:docMk/>
            <pc:sldMk cId="3346278320" sldId="267"/>
            <ac:spMk id="130" creationId="{FF45CDC5-AEFC-4177-BDED-9F577489C7DE}"/>
          </ac:spMkLst>
        </pc:spChg>
        <pc:spChg chg="mod ord">
          <ac:chgData name="Ugo MANTEL" userId="2d5b7065-31bb-4181-a7f8-a73bf0c30211" providerId="ADAL" clId="{287A013E-B4BE-485E-AE94-C2936752CD18}" dt="2020-09-30T14:45:02.762" v="113743"/>
          <ac:spMkLst>
            <pc:docMk/>
            <pc:sldMk cId="3346278320" sldId="267"/>
            <ac:spMk id="148" creationId="{166C2580-7BC9-484F-8D0C-7A9FD06E5F01}"/>
          </ac:spMkLst>
        </pc:spChg>
        <pc:graphicFrameChg chg="mod ord">
          <ac:chgData name="Ugo MANTEL" userId="2d5b7065-31bb-4181-a7f8-a73bf0c30211" providerId="ADAL" clId="{287A013E-B4BE-485E-AE94-C2936752CD18}" dt="2020-09-30T14:45:02.766" v="113745"/>
          <ac:graphicFrameMkLst>
            <pc:docMk/>
            <pc:sldMk cId="3346278320" sldId="267"/>
            <ac:graphicFrameMk id="12" creationId="{D08690BD-9494-496C-A56C-12FDCA69AC24}"/>
          </ac:graphicFrameMkLst>
        </pc:graphicFrameChg>
        <pc:graphicFrameChg chg="add mod ord">
          <ac:chgData name="Ugo MANTEL" userId="2d5b7065-31bb-4181-a7f8-a73bf0c30211" providerId="ADAL" clId="{287A013E-B4BE-485E-AE94-C2936752CD18}" dt="2020-09-30T14:45:02.750" v="113699"/>
          <ac:graphicFrameMkLst>
            <pc:docMk/>
            <pc:sldMk cId="3346278320" sldId="267"/>
            <ac:graphicFrameMk id="38" creationId="{CFB67084-CC86-4D61-A496-0A3B77BF4620}"/>
          </ac:graphicFrameMkLst>
        </pc:graphicFrameChg>
        <pc:graphicFrameChg chg="del">
          <ac:chgData name="Ugo MANTEL" userId="2d5b7065-31bb-4181-a7f8-a73bf0c30211" providerId="ADAL" clId="{287A013E-B4BE-485E-AE94-C2936752CD18}" dt="2020-09-30T14:45:02.736" v="113684"/>
          <ac:graphicFrameMkLst>
            <pc:docMk/>
            <pc:sldMk cId="3346278320" sldId="267"/>
            <ac:graphicFrameMk id="39" creationId="{13A1D5E3-F718-4C0C-B3F8-2030B3A2594E}"/>
          </ac:graphicFrameMkLst>
        </pc:graphicFrameChg>
        <pc:cxnChg chg="mod ord">
          <ac:chgData name="Ugo MANTEL" userId="2d5b7065-31bb-4181-a7f8-a73bf0c30211" providerId="ADAL" clId="{287A013E-B4BE-485E-AE94-C2936752CD18}" dt="2020-09-30T14:45:02.751" v="113701"/>
          <ac:cxnSpMkLst>
            <pc:docMk/>
            <pc:sldMk cId="3346278320" sldId="267"/>
            <ac:cxnSpMk id="84" creationId="{4A55795F-D62D-4477-9539-82C28D7342E9}"/>
          </ac:cxnSpMkLst>
        </pc:cxnChg>
        <pc:cxnChg chg="mod ord">
          <ac:chgData name="Ugo MANTEL" userId="2d5b7065-31bb-4181-a7f8-a73bf0c30211" providerId="ADAL" clId="{287A013E-B4BE-485E-AE94-C2936752CD18}" dt="2020-09-30T14:45:02.756" v="113715"/>
          <ac:cxnSpMkLst>
            <pc:docMk/>
            <pc:sldMk cId="3346278320" sldId="267"/>
            <ac:cxnSpMk id="94" creationId="{E547190D-30A4-433B-BDA8-6D4B2FF9D2FD}"/>
          </ac:cxnSpMkLst>
        </pc:cxnChg>
        <pc:cxnChg chg="mod ord">
          <ac:chgData name="Ugo MANTEL" userId="2d5b7065-31bb-4181-a7f8-a73bf0c30211" providerId="ADAL" clId="{287A013E-B4BE-485E-AE94-C2936752CD18}" dt="2020-09-30T14:45:02.752" v="113705"/>
          <ac:cxnSpMkLst>
            <pc:docMk/>
            <pc:sldMk cId="3346278320" sldId="267"/>
            <ac:cxnSpMk id="121" creationId="{21F2F5BF-3771-483E-8D82-70890A498989}"/>
          </ac:cxnSpMkLst>
        </pc:cxnChg>
        <pc:cxnChg chg="mod ord">
          <ac:chgData name="Ugo MANTEL" userId="2d5b7065-31bb-4181-a7f8-a73bf0c30211" providerId="ADAL" clId="{287A013E-B4BE-485E-AE94-C2936752CD18}" dt="2020-09-30T14:45:02.751" v="113703"/>
          <ac:cxnSpMkLst>
            <pc:docMk/>
            <pc:sldMk cId="3346278320" sldId="267"/>
            <ac:cxnSpMk id="122" creationId="{CCA631A9-EBE4-4A26-8A9C-141C022FFF04}"/>
          </ac:cxnSpMkLst>
        </pc:cxnChg>
        <pc:cxnChg chg="mod ord">
          <ac:chgData name="Ugo MANTEL" userId="2d5b7065-31bb-4181-a7f8-a73bf0c30211" providerId="ADAL" clId="{287A013E-B4BE-485E-AE94-C2936752CD18}" dt="2020-09-30T14:45:02.753" v="113707"/>
          <ac:cxnSpMkLst>
            <pc:docMk/>
            <pc:sldMk cId="3346278320" sldId="267"/>
            <ac:cxnSpMk id="123" creationId="{B290A3BD-3963-4B7E-92DD-9A40BD168973}"/>
          </ac:cxnSpMkLst>
        </pc:cxnChg>
        <pc:cxnChg chg="mod ord">
          <ac:chgData name="Ugo MANTEL" userId="2d5b7065-31bb-4181-a7f8-a73bf0c30211" providerId="ADAL" clId="{287A013E-B4BE-485E-AE94-C2936752CD18}" dt="2020-09-30T14:45:02.753" v="113709"/>
          <ac:cxnSpMkLst>
            <pc:docMk/>
            <pc:sldMk cId="3346278320" sldId="267"/>
            <ac:cxnSpMk id="126" creationId="{FB66F5B6-FEBB-4558-8E36-6FA0131C39A3}"/>
          </ac:cxnSpMkLst>
        </pc:cxnChg>
        <pc:cxnChg chg="mod ord">
          <ac:chgData name="Ugo MANTEL" userId="2d5b7065-31bb-4181-a7f8-a73bf0c30211" providerId="ADAL" clId="{287A013E-B4BE-485E-AE94-C2936752CD18}" dt="2020-09-30T14:45:02.754" v="113711"/>
          <ac:cxnSpMkLst>
            <pc:docMk/>
            <pc:sldMk cId="3346278320" sldId="267"/>
            <ac:cxnSpMk id="127" creationId="{9F69BC4B-2350-4C37-9B91-5ACC1BCC5EBE}"/>
          </ac:cxnSpMkLst>
        </pc:cxnChg>
        <pc:cxnChg chg="mod ord">
          <ac:chgData name="Ugo MANTEL" userId="2d5b7065-31bb-4181-a7f8-a73bf0c30211" providerId="ADAL" clId="{287A013E-B4BE-485E-AE94-C2936752CD18}" dt="2020-09-30T14:45:02.755" v="113713"/>
          <ac:cxnSpMkLst>
            <pc:docMk/>
            <pc:sldMk cId="3346278320" sldId="267"/>
            <ac:cxnSpMk id="128" creationId="{0FC3E430-2D11-4503-8A56-046FC19B3A48}"/>
          </ac:cxnSpMkLst>
        </pc:cxnChg>
      </pc:sldChg>
      <pc:sldChg chg="addSp delSp modSp add mod">
        <pc:chgData name="Ugo MANTEL" userId="2d5b7065-31bb-4181-a7f8-a73bf0c30211" providerId="ADAL" clId="{287A013E-B4BE-485E-AE94-C2936752CD18}" dt="2020-09-30T14:46:42.596" v="114161"/>
        <pc:sldMkLst>
          <pc:docMk/>
          <pc:sldMk cId="1644444161" sldId="268"/>
        </pc:sldMkLst>
        <pc:spChg chg="mod ord">
          <ac:chgData name="Ugo MANTEL" userId="2d5b7065-31bb-4181-a7f8-a73bf0c30211" providerId="ADAL" clId="{287A013E-B4BE-485E-AE94-C2936752CD18}" dt="2020-09-30T14:46:42.578" v="114113"/>
          <ac:spMkLst>
            <pc:docMk/>
            <pc:sldMk cId="1644444161" sldId="268"/>
            <ac:spMk id="2" creationId="{74942BC8-F7FC-49E9-B296-00C71A2F51D5}"/>
          </ac:spMkLst>
        </pc:spChg>
        <pc:spChg chg="mod ord">
          <ac:chgData name="Ugo MANTEL" userId="2d5b7065-31bb-4181-a7f8-a73bf0c30211" providerId="ADAL" clId="{287A013E-B4BE-485E-AE94-C2936752CD18}" dt="2020-09-30T14:46:42.577" v="114109"/>
          <ac:spMkLst>
            <pc:docMk/>
            <pc:sldMk cId="1644444161" sldId="268"/>
            <ac:spMk id="4" creationId="{1D149B75-29E2-4A32-B447-52C1973EDED0}"/>
          </ac:spMkLst>
        </pc:spChg>
        <pc:spChg chg="mod">
          <ac:chgData name="Ugo MANTEL" userId="2d5b7065-31bb-4181-a7f8-a73bf0c30211" providerId="ADAL" clId="{287A013E-B4BE-485E-AE94-C2936752CD18}" dt="2020-09-30T14:46:42.585" v="114132"/>
          <ac:spMkLst>
            <pc:docMk/>
            <pc:sldMk cId="1644444161" sldId="268"/>
            <ac:spMk id="6" creationId="{20ABFB18-92B3-4581-849D-D6C5F42002DE}"/>
          </ac:spMkLst>
        </pc:spChg>
        <pc:spChg chg="mod">
          <ac:chgData name="Ugo MANTEL" userId="2d5b7065-31bb-4181-a7f8-a73bf0c30211" providerId="ADAL" clId="{287A013E-B4BE-485E-AE94-C2936752CD18}" dt="2020-09-30T14:46:42.585" v="114133"/>
          <ac:spMkLst>
            <pc:docMk/>
            <pc:sldMk cId="1644444161" sldId="268"/>
            <ac:spMk id="7" creationId="{8FD9938C-F978-46AE-BB3A-EDEDFF7FD70A}"/>
          </ac:spMkLst>
        </pc:spChg>
        <pc:spChg chg="mod">
          <ac:chgData name="Ugo MANTEL" userId="2d5b7065-31bb-4181-a7f8-a73bf0c30211" providerId="ADAL" clId="{287A013E-B4BE-485E-AE94-C2936752CD18}" dt="2020-09-30T14:46:42.587" v="114138"/>
          <ac:spMkLst>
            <pc:docMk/>
            <pc:sldMk cId="1644444161" sldId="268"/>
            <ac:spMk id="8" creationId="{24DBBEC1-2EBC-4025-BAED-993C2FA9EB18}"/>
          </ac:spMkLst>
        </pc:spChg>
        <pc:spChg chg="mod">
          <ac:chgData name="Ugo MANTEL" userId="2d5b7065-31bb-4181-a7f8-a73bf0c30211" providerId="ADAL" clId="{287A013E-B4BE-485E-AE94-C2936752CD18}" dt="2020-09-30T14:46:42.587" v="114140"/>
          <ac:spMkLst>
            <pc:docMk/>
            <pc:sldMk cId="1644444161" sldId="268"/>
            <ac:spMk id="43" creationId="{A9A0C130-CA17-448C-B406-947373E76974}"/>
          </ac:spMkLst>
        </pc:spChg>
        <pc:spChg chg="mod">
          <ac:chgData name="Ugo MANTEL" userId="2d5b7065-31bb-4181-a7f8-a73bf0c30211" providerId="ADAL" clId="{287A013E-B4BE-485E-AE94-C2936752CD18}" dt="2020-09-30T14:46:42.587" v="114141"/>
          <ac:spMkLst>
            <pc:docMk/>
            <pc:sldMk cId="1644444161" sldId="268"/>
            <ac:spMk id="44" creationId="{FDD0A22E-D044-4738-A846-D69DD4EC1C73}"/>
          </ac:spMkLst>
        </pc:spChg>
        <pc:spChg chg="mod">
          <ac:chgData name="Ugo MANTEL" userId="2d5b7065-31bb-4181-a7f8-a73bf0c30211" providerId="ADAL" clId="{287A013E-B4BE-485E-AE94-C2936752CD18}" dt="2020-09-30T14:46:42.586" v="114137"/>
          <ac:spMkLst>
            <pc:docMk/>
            <pc:sldMk cId="1644444161" sldId="268"/>
            <ac:spMk id="45" creationId="{5656A40E-94D2-4D19-9FCB-B644FC3F1A54}"/>
          </ac:spMkLst>
        </pc:spChg>
        <pc:spChg chg="mod">
          <ac:chgData name="Ugo MANTEL" userId="2d5b7065-31bb-4181-a7f8-a73bf0c30211" providerId="ADAL" clId="{287A013E-B4BE-485E-AE94-C2936752CD18}" dt="2020-09-30T14:46:42.586" v="114135"/>
          <ac:spMkLst>
            <pc:docMk/>
            <pc:sldMk cId="1644444161" sldId="268"/>
            <ac:spMk id="46" creationId="{46B3103C-B011-4050-9308-7682C2786A94}"/>
          </ac:spMkLst>
        </pc:spChg>
        <pc:spChg chg="mod">
          <ac:chgData name="Ugo MANTEL" userId="2d5b7065-31bb-4181-a7f8-a73bf0c30211" providerId="ADAL" clId="{287A013E-B4BE-485E-AE94-C2936752CD18}" dt="2020-09-30T14:46:42.587" v="114139"/>
          <ac:spMkLst>
            <pc:docMk/>
            <pc:sldMk cId="1644444161" sldId="268"/>
            <ac:spMk id="47" creationId="{6D559518-E8C1-46B8-9B52-9036FEE0B55E}"/>
          </ac:spMkLst>
        </pc:spChg>
        <pc:spChg chg="mod">
          <ac:chgData name="Ugo MANTEL" userId="2d5b7065-31bb-4181-a7f8-a73bf0c30211" providerId="ADAL" clId="{287A013E-B4BE-485E-AE94-C2936752CD18}" dt="2020-09-30T14:46:42.588" v="114142"/>
          <ac:spMkLst>
            <pc:docMk/>
            <pc:sldMk cId="1644444161" sldId="268"/>
            <ac:spMk id="48" creationId="{8C66A17F-8A18-4E0C-B25E-892F3E969D94}"/>
          </ac:spMkLst>
        </pc:spChg>
        <pc:spChg chg="mod ord">
          <ac:chgData name="Ugo MANTEL" userId="2d5b7065-31bb-4181-a7f8-a73bf0c30211" providerId="ADAL" clId="{287A013E-B4BE-485E-AE94-C2936752CD18}" dt="2020-09-30T14:46:42.590" v="114151"/>
          <ac:spMkLst>
            <pc:docMk/>
            <pc:sldMk cId="1644444161" sldId="268"/>
            <ac:spMk id="83" creationId="{B88B1108-0092-4AF0-9274-78C36552DF38}"/>
          </ac:spMkLst>
        </pc:spChg>
        <pc:spChg chg="mod ord">
          <ac:chgData name="Ugo MANTEL" userId="2d5b7065-31bb-4181-a7f8-a73bf0c30211" providerId="ADAL" clId="{287A013E-B4BE-485E-AE94-C2936752CD18}" dt="2020-09-30T14:46:42.592" v="114157"/>
          <ac:spMkLst>
            <pc:docMk/>
            <pc:sldMk cId="1644444161" sldId="268"/>
            <ac:spMk id="93" creationId="{C7A85204-D779-4BC9-8681-F532B6318218}"/>
          </ac:spMkLst>
        </pc:spChg>
        <pc:spChg chg="mod">
          <ac:chgData name="Ugo MANTEL" userId="2d5b7065-31bb-4181-a7f8-a73bf0c30211" providerId="ADAL" clId="{287A013E-B4BE-485E-AE94-C2936752CD18}" dt="2020-09-30T14:46:42.586" v="114136"/>
          <ac:spMkLst>
            <pc:docMk/>
            <pc:sldMk cId="1644444161" sldId="268"/>
            <ac:spMk id="96" creationId="{96ACD372-FEF3-47D1-B300-A297F400E38C}"/>
          </ac:spMkLst>
        </pc:spChg>
        <pc:spChg chg="mod">
          <ac:chgData name="Ugo MANTEL" userId="2d5b7065-31bb-4181-a7f8-a73bf0c30211" providerId="ADAL" clId="{287A013E-B4BE-485E-AE94-C2936752CD18}" dt="2020-09-30T14:46:42.588" v="114145"/>
          <ac:spMkLst>
            <pc:docMk/>
            <pc:sldMk cId="1644444161" sldId="268"/>
            <ac:spMk id="98" creationId="{1DE28F63-AB22-4CC0-A2FB-42770F0DA4C5}"/>
          </ac:spMkLst>
        </pc:spChg>
        <pc:spChg chg="mod">
          <ac:chgData name="Ugo MANTEL" userId="2d5b7065-31bb-4181-a7f8-a73bf0c30211" providerId="ADAL" clId="{287A013E-B4BE-485E-AE94-C2936752CD18}" dt="2020-09-30T14:46:42.589" v="114146"/>
          <ac:spMkLst>
            <pc:docMk/>
            <pc:sldMk cId="1644444161" sldId="268"/>
            <ac:spMk id="99" creationId="{B7012B39-405B-48CB-AB07-FC31E3EAF9AA}"/>
          </ac:spMkLst>
        </pc:spChg>
        <pc:spChg chg="mod">
          <ac:chgData name="Ugo MANTEL" userId="2d5b7065-31bb-4181-a7f8-a73bf0c30211" providerId="ADAL" clId="{287A013E-B4BE-485E-AE94-C2936752CD18}" dt="2020-09-30T14:46:42.586" v="114134"/>
          <ac:spMkLst>
            <pc:docMk/>
            <pc:sldMk cId="1644444161" sldId="268"/>
            <ac:spMk id="100" creationId="{BD03CE83-5B80-4222-9DF4-8B8CDD6253FD}"/>
          </ac:spMkLst>
        </pc:spChg>
        <pc:spChg chg="mod">
          <ac:chgData name="Ugo MANTEL" userId="2d5b7065-31bb-4181-a7f8-a73bf0c30211" providerId="ADAL" clId="{287A013E-B4BE-485E-AE94-C2936752CD18}" dt="2020-09-30T14:46:42.589" v="114147"/>
          <ac:spMkLst>
            <pc:docMk/>
            <pc:sldMk cId="1644444161" sldId="268"/>
            <ac:spMk id="101" creationId="{DE44398E-CA7D-423C-B470-AEEC17B9CEF1}"/>
          </ac:spMkLst>
        </pc:spChg>
        <pc:spChg chg="mod">
          <ac:chgData name="Ugo MANTEL" userId="2d5b7065-31bb-4181-a7f8-a73bf0c30211" providerId="ADAL" clId="{287A013E-B4BE-485E-AE94-C2936752CD18}" dt="2020-09-30T14:46:42.588" v="114144"/>
          <ac:spMkLst>
            <pc:docMk/>
            <pc:sldMk cId="1644444161" sldId="268"/>
            <ac:spMk id="102" creationId="{41BAEDB9-ABF1-40DF-B0EE-8DAE21411DCE}"/>
          </ac:spMkLst>
        </pc:spChg>
        <pc:spChg chg="mod">
          <ac:chgData name="Ugo MANTEL" userId="2d5b7065-31bb-4181-a7f8-a73bf0c30211" providerId="ADAL" clId="{287A013E-B4BE-485E-AE94-C2936752CD18}" dt="2020-09-30T14:46:42.588" v="114143"/>
          <ac:spMkLst>
            <pc:docMk/>
            <pc:sldMk cId="1644444161" sldId="268"/>
            <ac:spMk id="103" creationId="{19BD0584-735D-43A7-B72F-9CD40765384D}"/>
          </ac:spMkLst>
        </pc:spChg>
        <pc:spChg chg="mod">
          <ac:chgData name="Ugo MANTEL" userId="2d5b7065-31bb-4181-a7f8-a73bf0c30211" providerId="ADAL" clId="{287A013E-B4BE-485E-AE94-C2936752CD18}" dt="2020-09-30T14:46:42.589" v="114148"/>
          <ac:spMkLst>
            <pc:docMk/>
            <pc:sldMk cId="1644444161" sldId="268"/>
            <ac:spMk id="104" creationId="{ACB2F137-2C20-476F-8A5F-CB5C1DB3BABB}"/>
          </ac:spMkLst>
        </pc:spChg>
        <pc:spChg chg="mod">
          <ac:chgData name="Ugo MANTEL" userId="2d5b7065-31bb-4181-a7f8-a73bf0c30211" providerId="ADAL" clId="{287A013E-B4BE-485E-AE94-C2936752CD18}" dt="2020-09-30T14:46:42.589" v="114149"/>
          <ac:spMkLst>
            <pc:docMk/>
            <pc:sldMk cId="1644444161" sldId="268"/>
            <ac:spMk id="105" creationId="{F05CE6D0-53F8-4866-BBE8-08E714873EDF}"/>
          </ac:spMkLst>
        </pc:spChg>
        <pc:spChg chg="mod ord">
          <ac:chgData name="Ugo MANTEL" userId="2d5b7065-31bb-4181-a7f8-a73bf0c30211" providerId="ADAL" clId="{287A013E-B4BE-485E-AE94-C2936752CD18}" dt="2020-09-30T14:46:42.591" v="114153"/>
          <ac:spMkLst>
            <pc:docMk/>
            <pc:sldMk cId="1644444161" sldId="268"/>
            <ac:spMk id="120" creationId="{ACC55E45-D91A-4E5A-B55D-CC1C31EE3885}"/>
          </ac:spMkLst>
        </pc:spChg>
        <pc:spChg chg="mod ord">
          <ac:chgData name="Ugo MANTEL" userId="2d5b7065-31bb-4181-a7f8-a73bf0c30211" providerId="ADAL" clId="{287A013E-B4BE-485E-AE94-C2936752CD18}" dt="2020-09-30T14:46:42.592" v="114155"/>
          <ac:spMkLst>
            <pc:docMk/>
            <pc:sldMk cId="1644444161" sldId="268"/>
            <ac:spMk id="125" creationId="{D4489E23-9F70-4A58-BC89-401B9D993A86}"/>
          </ac:spMkLst>
        </pc:spChg>
        <pc:spChg chg="mod ord">
          <ac:chgData name="Ugo MANTEL" userId="2d5b7065-31bb-4181-a7f8-a73bf0c30211" providerId="ADAL" clId="{287A013E-B4BE-485E-AE94-C2936752CD18}" dt="2020-09-30T14:46:42.578" v="114111"/>
          <ac:spMkLst>
            <pc:docMk/>
            <pc:sldMk cId="1644444161" sldId="268"/>
            <ac:spMk id="130" creationId="{FF45CDC5-AEFC-4177-BDED-9F577489C7DE}"/>
          </ac:spMkLst>
        </pc:spChg>
        <pc:spChg chg="mod ord">
          <ac:chgData name="Ugo MANTEL" userId="2d5b7065-31bb-4181-a7f8-a73bf0c30211" providerId="ADAL" clId="{287A013E-B4BE-485E-AE94-C2936752CD18}" dt="2020-09-30T14:46:42.593" v="114159"/>
          <ac:spMkLst>
            <pc:docMk/>
            <pc:sldMk cId="1644444161" sldId="268"/>
            <ac:spMk id="148" creationId="{166C2580-7BC9-484F-8D0C-7A9FD06E5F01}"/>
          </ac:spMkLst>
        </pc:spChg>
        <pc:graphicFrameChg chg="mod ord">
          <ac:chgData name="Ugo MANTEL" userId="2d5b7065-31bb-4181-a7f8-a73bf0c30211" providerId="ADAL" clId="{287A013E-B4BE-485E-AE94-C2936752CD18}" dt="2020-09-30T14:46:42.596" v="114161"/>
          <ac:graphicFrameMkLst>
            <pc:docMk/>
            <pc:sldMk cId="1644444161" sldId="268"/>
            <ac:graphicFrameMk id="12" creationId="{D08690BD-9494-496C-A56C-12FDCA69AC24}"/>
          </ac:graphicFrameMkLst>
        </pc:graphicFrameChg>
        <pc:graphicFrameChg chg="del">
          <ac:chgData name="Ugo MANTEL" userId="2d5b7065-31bb-4181-a7f8-a73bf0c30211" providerId="ADAL" clId="{287A013E-B4BE-485E-AE94-C2936752CD18}" dt="2020-09-30T14:46:42.561" v="114100"/>
          <ac:graphicFrameMkLst>
            <pc:docMk/>
            <pc:sldMk cId="1644444161" sldId="268"/>
            <ac:graphicFrameMk id="38" creationId="{5A9D14DB-FE2D-4AF4-9619-D721D7BAF927}"/>
          </ac:graphicFrameMkLst>
        </pc:graphicFrameChg>
        <pc:graphicFrameChg chg="add mod ord">
          <ac:chgData name="Ugo MANTEL" userId="2d5b7065-31bb-4181-a7f8-a73bf0c30211" providerId="ADAL" clId="{287A013E-B4BE-485E-AE94-C2936752CD18}" dt="2020-09-30T14:46:42.579" v="114115"/>
          <ac:graphicFrameMkLst>
            <pc:docMk/>
            <pc:sldMk cId="1644444161" sldId="268"/>
            <ac:graphicFrameMk id="39" creationId="{C516A193-6377-4C41-89AD-32F9F4FC6ECC}"/>
          </ac:graphicFrameMkLst>
        </pc:graphicFrameChg>
        <pc:cxnChg chg="mod ord">
          <ac:chgData name="Ugo MANTEL" userId="2d5b7065-31bb-4181-a7f8-a73bf0c30211" providerId="ADAL" clId="{287A013E-B4BE-485E-AE94-C2936752CD18}" dt="2020-09-30T14:46:42.580" v="114117"/>
          <ac:cxnSpMkLst>
            <pc:docMk/>
            <pc:sldMk cId="1644444161" sldId="268"/>
            <ac:cxnSpMk id="84" creationId="{4A55795F-D62D-4477-9539-82C28D7342E9}"/>
          </ac:cxnSpMkLst>
        </pc:cxnChg>
        <pc:cxnChg chg="mod ord">
          <ac:chgData name="Ugo MANTEL" userId="2d5b7065-31bb-4181-a7f8-a73bf0c30211" providerId="ADAL" clId="{287A013E-B4BE-485E-AE94-C2936752CD18}" dt="2020-09-30T14:46:42.585" v="114131"/>
          <ac:cxnSpMkLst>
            <pc:docMk/>
            <pc:sldMk cId="1644444161" sldId="268"/>
            <ac:cxnSpMk id="94" creationId="{E547190D-30A4-433B-BDA8-6D4B2FF9D2FD}"/>
          </ac:cxnSpMkLst>
        </pc:cxnChg>
        <pc:cxnChg chg="mod ord">
          <ac:chgData name="Ugo MANTEL" userId="2d5b7065-31bb-4181-a7f8-a73bf0c30211" providerId="ADAL" clId="{287A013E-B4BE-485E-AE94-C2936752CD18}" dt="2020-09-30T14:46:42.580" v="114119"/>
          <ac:cxnSpMkLst>
            <pc:docMk/>
            <pc:sldMk cId="1644444161" sldId="268"/>
            <ac:cxnSpMk id="121" creationId="{21F2F5BF-3771-483E-8D82-70890A498989}"/>
          </ac:cxnSpMkLst>
        </pc:cxnChg>
        <pc:cxnChg chg="mod ord">
          <ac:chgData name="Ugo MANTEL" userId="2d5b7065-31bb-4181-a7f8-a73bf0c30211" providerId="ADAL" clId="{287A013E-B4BE-485E-AE94-C2936752CD18}" dt="2020-09-30T14:46:42.581" v="114121"/>
          <ac:cxnSpMkLst>
            <pc:docMk/>
            <pc:sldMk cId="1644444161" sldId="268"/>
            <ac:cxnSpMk id="122" creationId="{CCA631A9-EBE4-4A26-8A9C-141C022FFF04}"/>
          </ac:cxnSpMkLst>
        </pc:cxnChg>
        <pc:cxnChg chg="mod ord">
          <ac:chgData name="Ugo MANTEL" userId="2d5b7065-31bb-4181-a7f8-a73bf0c30211" providerId="ADAL" clId="{287A013E-B4BE-485E-AE94-C2936752CD18}" dt="2020-09-30T14:46:42.582" v="114123"/>
          <ac:cxnSpMkLst>
            <pc:docMk/>
            <pc:sldMk cId="1644444161" sldId="268"/>
            <ac:cxnSpMk id="123" creationId="{B290A3BD-3963-4B7E-92DD-9A40BD168973}"/>
          </ac:cxnSpMkLst>
        </pc:cxnChg>
        <pc:cxnChg chg="mod ord">
          <ac:chgData name="Ugo MANTEL" userId="2d5b7065-31bb-4181-a7f8-a73bf0c30211" providerId="ADAL" clId="{287A013E-B4BE-485E-AE94-C2936752CD18}" dt="2020-09-30T14:46:42.582" v="114125"/>
          <ac:cxnSpMkLst>
            <pc:docMk/>
            <pc:sldMk cId="1644444161" sldId="268"/>
            <ac:cxnSpMk id="126" creationId="{FB66F5B6-FEBB-4558-8E36-6FA0131C39A3}"/>
          </ac:cxnSpMkLst>
        </pc:cxnChg>
        <pc:cxnChg chg="mod ord">
          <ac:chgData name="Ugo MANTEL" userId="2d5b7065-31bb-4181-a7f8-a73bf0c30211" providerId="ADAL" clId="{287A013E-B4BE-485E-AE94-C2936752CD18}" dt="2020-09-30T14:46:42.583" v="114127"/>
          <ac:cxnSpMkLst>
            <pc:docMk/>
            <pc:sldMk cId="1644444161" sldId="268"/>
            <ac:cxnSpMk id="127" creationId="{9F69BC4B-2350-4C37-9B91-5ACC1BCC5EBE}"/>
          </ac:cxnSpMkLst>
        </pc:cxnChg>
        <pc:cxnChg chg="mod ord">
          <ac:chgData name="Ugo MANTEL" userId="2d5b7065-31bb-4181-a7f8-a73bf0c30211" providerId="ADAL" clId="{287A013E-B4BE-485E-AE94-C2936752CD18}" dt="2020-09-30T14:46:42.584" v="114129"/>
          <ac:cxnSpMkLst>
            <pc:docMk/>
            <pc:sldMk cId="1644444161" sldId="268"/>
            <ac:cxnSpMk id="128" creationId="{0FC3E430-2D11-4503-8A56-046FC19B3A48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4459582198001824E-3"/>
          <c:y val="1.779603011635866E-2"/>
          <c:w val="0.98110808356039958"/>
          <c:h val="0.9644079397672826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780-4A67-BEEE-38E7864F61C7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780-4A67-BEEE-38E7864F61C7}"/>
              </c:ext>
            </c:extLst>
          </c:dPt>
          <c:dPt>
            <c:idx val="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780-4A67-BEEE-38E7864F61C7}"/>
              </c:ext>
            </c:extLst>
          </c:dPt>
          <c:dPt>
            <c:idx val="1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780-4A67-BEEE-38E7864F61C7}"/>
              </c:ext>
            </c:extLst>
          </c:dPt>
          <c:val>
            <c:numRef>
              <c:f>Sheet1!$A$1:$M$1</c:f>
              <c:numCache>
                <c:formatCode>General</c:formatCode>
                <c:ptCount val="13"/>
                <c:pt idx="0">
                  <c:v>35390204.659999959</c:v>
                </c:pt>
                <c:pt idx="1">
                  <c:v>35184785.979999959</c:v>
                </c:pt>
                <c:pt idx="2">
                  <c:v>33543541.659999959</c:v>
                </c:pt>
                <c:pt idx="3">
                  <c:v>33543541.659999959</c:v>
                </c:pt>
                <c:pt idx="4">
                  <c:v>35719269.11999996</c:v>
                </c:pt>
                <c:pt idx="5">
                  <c:v>35719269.11999996</c:v>
                </c:pt>
                <c:pt idx="6">
                  <c:v>34615434.249999963</c:v>
                </c:pt>
                <c:pt idx="7">
                  <c:v>34615434.249999963</c:v>
                </c:pt>
                <c:pt idx="8">
                  <c:v>36485346.919999965</c:v>
                </c:pt>
                <c:pt idx="9">
                  <c:v>36485346.919999965</c:v>
                </c:pt>
                <c:pt idx="10">
                  <c:v>35261776.069999963</c:v>
                </c:pt>
                <c:pt idx="11">
                  <c:v>35261776.069999963</c:v>
                </c:pt>
                <c:pt idx="12">
                  <c:v>38318649.7899999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780-4A67-BEEE-38E7864F61C7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C780-4A67-BEEE-38E7864F61C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C780-4A67-BEEE-38E7864F61C7}"/>
              </c:ext>
            </c:extLst>
          </c:dPt>
          <c:dPt>
            <c:idx val="5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C780-4A67-BEEE-38E7864F61C7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C780-4A67-BEEE-38E7864F61C7}"/>
              </c:ext>
            </c:extLst>
          </c:dPt>
          <c:dPt>
            <c:idx val="9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C780-4A67-BEEE-38E7864F61C7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C780-4A67-BEEE-38E7864F61C7}"/>
              </c:ext>
            </c:extLst>
          </c:dPt>
          <c:val>
            <c:numRef>
              <c:f>Sheet1!$A$2:$M$2</c:f>
              <c:numCache>
                <c:formatCode>General</c:formatCode>
                <c:ptCount val="13"/>
                <c:pt idx="1">
                  <c:v>205418.6799999997</c:v>
                </c:pt>
                <c:pt idx="2">
                  <c:v>1641244.3200000003</c:v>
                </c:pt>
                <c:pt idx="3">
                  <c:v>2175727.4600000009</c:v>
                </c:pt>
                <c:pt idx="5">
                  <c:v>820987.46000000089</c:v>
                </c:pt>
                <c:pt idx="6">
                  <c:v>1924822.3299999982</c:v>
                </c:pt>
                <c:pt idx="7">
                  <c:v>1869912.6700000018</c:v>
                </c:pt>
                <c:pt idx="9">
                  <c:v>1051196.2800000012</c:v>
                </c:pt>
                <c:pt idx="10">
                  <c:v>2274767.1300000027</c:v>
                </c:pt>
                <c:pt idx="11">
                  <c:v>3056873.7199999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780-4A67-BEEE-38E7864F61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84008543"/>
        <c:axId val="1"/>
      </c:barChart>
      <c:catAx>
        <c:axId val="11840085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8318649.78999996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840085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771863117870721E-2"/>
          <c:y val="3.3964728935336384E-2"/>
          <c:w val="0.96045627376425846"/>
          <c:h val="0.9320705421293272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12.980745384754847</c:v>
                </c:pt>
                <c:pt idx="1">
                  <c:v>13.904125617201236</c:v>
                </c:pt>
                <c:pt idx="2">
                  <c:v>14.438020163143564</c:v>
                </c:pt>
                <c:pt idx="3">
                  <c:v>13.146535753353062</c:v>
                </c:pt>
                <c:pt idx="4">
                  <c:v>14.148648256087776</c:v>
                </c:pt>
                <c:pt idx="5">
                  <c:v>15.257866051453046</c:v>
                </c:pt>
                <c:pt idx="6">
                  <c:v>16.541227126540228</c:v>
                </c:pt>
                <c:pt idx="7">
                  <c:v>18.313625671572645</c:v>
                </c:pt>
                <c:pt idx="8">
                  <c:v>20.445843727475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2AC-4F8F-B96D-27192489A7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84574975"/>
        <c:axId val="1"/>
      </c:barChart>
      <c:catAx>
        <c:axId val="17845749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.44584372747500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8457497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771863117870721E-2"/>
          <c:y val="3.3964728935336384E-2"/>
          <c:w val="0.96045627376425846"/>
          <c:h val="0.9320705421293272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4.775482785605015</c:v>
                </c:pt>
                <c:pt idx="1">
                  <c:v>5.678756300534566</c:v>
                </c:pt>
                <c:pt idx="2">
                  <c:v>6.3538663968900622</c:v>
                </c:pt>
                <c:pt idx="3">
                  <c:v>5.9639701711046671</c:v>
                </c:pt>
                <c:pt idx="4">
                  <c:v>6.4195274828055648</c:v>
                </c:pt>
                <c:pt idx="5">
                  <c:v>6.9066648170988509</c:v>
                </c:pt>
                <c:pt idx="6">
                  <c:v>7.4444282495901168</c:v>
                </c:pt>
                <c:pt idx="7">
                  <c:v>8.2177270497542505</c:v>
                </c:pt>
                <c:pt idx="8">
                  <c:v>9.24272791410920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B4-4A66-9CB3-310E75F5E5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91435615"/>
        <c:axId val="1"/>
      </c:barChart>
      <c:catAx>
        <c:axId val="8914356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.242727914109206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914356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771863117870721E-2"/>
          <c:y val="3.3964728935336384E-2"/>
          <c:w val="0.96045627376425846"/>
          <c:h val="0.9320705421293272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2.3074362147335146</c:v>
                </c:pt>
                <c:pt idx="1">
                  <c:v>1.7021529270338434</c:v>
                </c:pt>
                <c:pt idx="2">
                  <c:v>2.8405099779184404</c:v>
                </c:pt>
                <c:pt idx="3">
                  <c:v>4.2951769055423004</c:v>
                </c:pt>
                <c:pt idx="4">
                  <c:v>5.3277296640789498</c:v>
                </c:pt>
                <c:pt idx="5">
                  <c:v>6.3837723964809499</c:v>
                </c:pt>
                <c:pt idx="6">
                  <c:v>7.4447371544178589</c:v>
                </c:pt>
                <c:pt idx="7">
                  <c:v>8.558634926822922</c:v>
                </c:pt>
                <c:pt idx="8">
                  <c:v>9.75719360030754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97-4C3B-B4A6-957D14510A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7209888"/>
        <c:axId val="1"/>
      </c:barChart>
      <c:catAx>
        <c:axId val="4472098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.757193600307543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472098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771863117870721E-2"/>
          <c:y val="3.3964728935336384E-2"/>
          <c:w val="0.96045627376425846"/>
          <c:h val="0.9320705421293272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4.8596115996666667</c:v>
                </c:pt>
                <c:pt idx="1">
                  <c:v>5.909652204056278</c:v>
                </c:pt>
                <c:pt idx="2">
                  <c:v>7.1953892985187142</c:v>
                </c:pt>
                <c:pt idx="3">
                  <c:v>6.6740000000000004</c:v>
                </c:pt>
                <c:pt idx="4">
                  <c:v>7.8160819473491081</c:v>
                </c:pt>
                <c:pt idx="5">
                  <c:v>9.063895844640971</c:v>
                </c:pt>
                <c:pt idx="6">
                  <c:v>10.427567948308173</c:v>
                </c:pt>
                <c:pt idx="7">
                  <c:v>11.942245534307338</c:v>
                </c:pt>
                <c:pt idx="8">
                  <c:v>13.574218236434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B2F-4B14-9F95-8C3ADE9BD8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7223088"/>
        <c:axId val="1"/>
      </c:barChart>
      <c:catAx>
        <c:axId val="4472230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.5742182364346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472230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531095498308613E-2"/>
          <c:y val="1.779603011635866E-2"/>
          <c:w val="0.97293780900338278"/>
          <c:h val="0.9644079397672826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072-4F15-B21D-E6DC739843FB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072-4F15-B21D-E6DC739843FB}"/>
              </c:ext>
            </c:extLst>
          </c:dPt>
          <c:dPt>
            <c:idx val="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3072-4F15-B21D-E6DC739843FB}"/>
              </c:ext>
            </c:extLst>
          </c:dPt>
          <c:val>
            <c:numRef>
              <c:f>Sheet1!$A$1:$I$1</c:f>
              <c:numCache>
                <c:formatCode>General</c:formatCode>
                <c:ptCount val="9"/>
                <c:pt idx="0">
                  <c:v>8798498.4599999916</c:v>
                </c:pt>
                <c:pt idx="1">
                  <c:v>8798498.4599999916</c:v>
                </c:pt>
                <c:pt idx="2">
                  <c:v>5801642.1599999927</c:v>
                </c:pt>
                <c:pt idx="3">
                  <c:v>5801642.1599999927</c:v>
                </c:pt>
                <c:pt idx="4">
                  <c:v>9370247.1399999931</c:v>
                </c:pt>
                <c:pt idx="5">
                  <c:v>9295886.4899999928</c:v>
                </c:pt>
                <c:pt idx="6">
                  <c:v>5872135.3899999931</c:v>
                </c:pt>
                <c:pt idx="7">
                  <c:v>5872135.3899999931</c:v>
                </c:pt>
                <c:pt idx="8">
                  <c:v>9449427.21999999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072-4F15-B21D-E6DC739843FB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3072-4F15-B21D-E6DC739843F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3072-4F15-B21D-E6DC739843FB}"/>
              </c:ext>
            </c:extLst>
          </c:dPt>
          <c:dPt>
            <c:idx val="5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3072-4F15-B21D-E6DC739843F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3072-4F15-B21D-E6DC739843FB}"/>
              </c:ext>
            </c:extLst>
          </c:dPt>
          <c:val>
            <c:numRef>
              <c:f>Sheet1!$A$2:$I$2</c:f>
              <c:numCache>
                <c:formatCode>General</c:formatCode>
                <c:ptCount val="9"/>
                <c:pt idx="1">
                  <c:v>72844.330000000075</c:v>
                </c:pt>
                <c:pt idx="2">
                  <c:v>3069700.629999999</c:v>
                </c:pt>
                <c:pt idx="3">
                  <c:v>3568604.9800000004</c:v>
                </c:pt>
                <c:pt idx="5">
                  <c:v>74360.650000000373</c:v>
                </c:pt>
                <c:pt idx="6">
                  <c:v>3423751.0999999996</c:v>
                </c:pt>
                <c:pt idx="7">
                  <c:v>3577291.8299999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072-4F15-B21D-E6DC739843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09138415"/>
        <c:axId val="1"/>
      </c:barChart>
      <c:catAx>
        <c:axId val="19091384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449427.219999991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091384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4459582198001824E-3"/>
          <c:y val="1.779603011635866E-2"/>
          <c:w val="0.98110808356039958"/>
          <c:h val="0.9644079397672826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2A0-496F-BF54-ED28F53DBBCB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2A0-496F-BF54-ED28F53DBBCB}"/>
              </c:ext>
            </c:extLst>
          </c:dPt>
          <c:dPt>
            <c:idx val="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E2A0-496F-BF54-ED28F53DBBCB}"/>
              </c:ext>
            </c:extLst>
          </c:dPt>
          <c:dPt>
            <c:idx val="1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2A0-496F-BF54-ED28F53DBBCB}"/>
              </c:ext>
            </c:extLst>
          </c:dPt>
          <c:val>
            <c:numRef>
              <c:f>Sheet1!$A$1:$M$1</c:f>
              <c:numCache>
                <c:formatCode>General</c:formatCode>
                <c:ptCount val="13"/>
                <c:pt idx="0">
                  <c:v>47781659.089595072</c:v>
                </c:pt>
                <c:pt idx="1">
                  <c:v>45914463.389688641</c:v>
                </c:pt>
                <c:pt idx="2">
                  <c:v>41603497.31698864</c:v>
                </c:pt>
                <c:pt idx="3">
                  <c:v>41603497.31698864</c:v>
                </c:pt>
                <c:pt idx="4">
                  <c:v>46641774.166988641</c:v>
                </c:pt>
                <c:pt idx="5">
                  <c:v>44055467.518684782</c:v>
                </c:pt>
                <c:pt idx="6">
                  <c:v>40802936.389996029</c:v>
                </c:pt>
                <c:pt idx="7">
                  <c:v>40802936.389996029</c:v>
                </c:pt>
                <c:pt idx="8">
                  <c:v>46706393.619996026</c:v>
                </c:pt>
                <c:pt idx="9">
                  <c:v>42626440.939996026</c:v>
                </c:pt>
                <c:pt idx="10">
                  <c:v>37639980.769999921</c:v>
                </c:pt>
                <c:pt idx="11">
                  <c:v>37639980.769999921</c:v>
                </c:pt>
                <c:pt idx="12">
                  <c:v>42492371.6253332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2A0-496F-BF54-ED28F53DBBCB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2A0-496F-BF54-ED28F53DBBC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E2A0-496F-BF54-ED28F53DBBCB}"/>
              </c:ext>
            </c:extLst>
          </c:dPt>
          <c:dPt>
            <c:idx val="5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2A0-496F-BF54-ED28F53DBBC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E2A0-496F-BF54-ED28F53DBBCB}"/>
              </c:ext>
            </c:extLst>
          </c:dPt>
          <c:dPt>
            <c:idx val="9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E2A0-496F-BF54-ED28F53DBBCB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E2A0-496F-BF54-ED28F53DBBCB}"/>
              </c:ext>
            </c:extLst>
          </c:dPt>
          <c:val>
            <c:numRef>
              <c:f>Sheet1!$A$2:$M$2</c:f>
              <c:numCache>
                <c:formatCode>General</c:formatCode>
                <c:ptCount val="13"/>
                <c:pt idx="1">
                  <c:v>1867195.6999064311</c:v>
                </c:pt>
                <c:pt idx="2">
                  <c:v>4310966.0727000013</c:v>
                </c:pt>
                <c:pt idx="3">
                  <c:v>5038276.8500000015</c:v>
                </c:pt>
                <c:pt idx="5">
                  <c:v>2586306.6483038589</c:v>
                </c:pt>
                <c:pt idx="6">
                  <c:v>3252531.1286887527</c:v>
                </c:pt>
                <c:pt idx="7">
                  <c:v>5903457.2299999967</c:v>
                </c:pt>
                <c:pt idx="9">
                  <c:v>4079952.6799999997</c:v>
                </c:pt>
                <c:pt idx="10">
                  <c:v>4986460.1699961051</c:v>
                </c:pt>
                <c:pt idx="11">
                  <c:v>4852390.85533333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E2A0-496F-BF54-ED28F53DBB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31731408"/>
        <c:axId val="1"/>
      </c:barChart>
      <c:catAx>
        <c:axId val="4317314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7781659.08959507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317314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531095498308613E-2"/>
          <c:y val="1.779603011635866E-2"/>
          <c:w val="0.97293780900338278"/>
          <c:h val="0.9644079397672826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E03-4B2D-9C68-75A5A9A9805E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E03-4B2D-9C68-75A5A9A9805E}"/>
              </c:ext>
            </c:extLst>
          </c:dPt>
          <c:dPt>
            <c:idx val="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E03-4B2D-9C68-75A5A9A9805E}"/>
              </c:ext>
            </c:extLst>
          </c:dPt>
          <c:val>
            <c:numRef>
              <c:f>Sheet1!$A$1:$I$1</c:f>
              <c:numCache>
                <c:formatCode>General</c:formatCode>
                <c:ptCount val="9"/>
                <c:pt idx="0">
                  <c:v>46595281.666988768</c:v>
                </c:pt>
                <c:pt idx="1">
                  <c:v>46415902.633329488</c:v>
                </c:pt>
                <c:pt idx="2">
                  <c:v>44821502.783329487</c:v>
                </c:pt>
                <c:pt idx="3">
                  <c:v>44821502.783329487</c:v>
                </c:pt>
                <c:pt idx="4">
                  <c:v>46408010.793329492</c:v>
                </c:pt>
                <c:pt idx="5">
                  <c:v>45245663.23332949</c:v>
                </c:pt>
                <c:pt idx="6">
                  <c:v>42305167.110000052</c:v>
                </c:pt>
                <c:pt idx="7">
                  <c:v>42305167.110000052</c:v>
                </c:pt>
                <c:pt idx="8">
                  <c:v>46314828.775333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E03-4B2D-9C68-75A5A9A9805E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2E03-4B2D-9C68-75A5A9A9805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2E03-4B2D-9C68-75A5A9A9805E}"/>
              </c:ext>
            </c:extLst>
          </c:dPt>
          <c:dPt>
            <c:idx val="5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2E03-4B2D-9C68-75A5A9A9805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2E03-4B2D-9C68-75A5A9A9805E}"/>
              </c:ext>
            </c:extLst>
          </c:dPt>
          <c:val>
            <c:numRef>
              <c:f>Sheet1!$A$2:$I$2</c:f>
              <c:numCache>
                <c:formatCode>General</c:formatCode>
                <c:ptCount val="9"/>
                <c:pt idx="1">
                  <c:v>179379.03365927935</c:v>
                </c:pt>
                <c:pt idx="2">
                  <c:v>1594399.8500000015</c:v>
                </c:pt>
                <c:pt idx="3">
                  <c:v>1586508.0100000054</c:v>
                </c:pt>
                <c:pt idx="5">
                  <c:v>1162347.5600000024</c:v>
                </c:pt>
                <c:pt idx="6">
                  <c:v>2940496.1233294383</c:v>
                </c:pt>
                <c:pt idx="7">
                  <c:v>4009661.6653333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E03-4B2D-9C68-75A5A9A980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95505088"/>
        <c:axId val="1"/>
      </c:barChart>
      <c:catAx>
        <c:axId val="19955050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595281.66698876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955050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069255180138141E-3"/>
          <c:y val="1.779603011635866E-2"/>
          <c:w val="0.98058614896397245"/>
          <c:h val="0.9644079397672826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4EF-4130-83B4-DEF93DA374A6}"/>
              </c:ext>
            </c:extLst>
          </c:dPt>
          <c:dPt>
            <c:idx val="1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4EF-4130-83B4-DEF93DA374A6}"/>
              </c:ext>
            </c:extLst>
          </c:dPt>
          <c:dPt>
            <c:idx val="2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4EF-4130-83B4-DEF93DA374A6}"/>
              </c:ext>
            </c:extLst>
          </c:dPt>
          <c:val>
            <c:numRef>
              <c:f>Sheet1!$A$1:$W$1</c:f>
              <c:numCache>
                <c:formatCode>General</c:formatCode>
                <c:ptCount val="23"/>
                <c:pt idx="0">
                  <c:v>8798498.4599999953</c:v>
                </c:pt>
                <c:pt idx="1">
                  <c:v>8591048.7199999951</c:v>
                </c:pt>
                <c:pt idx="2">
                  <c:v>6581534.7699999949</c:v>
                </c:pt>
                <c:pt idx="3">
                  <c:v>6581534.7699999949</c:v>
                </c:pt>
                <c:pt idx="4">
                  <c:v>8315738.9099999946</c:v>
                </c:pt>
                <c:pt idx="5">
                  <c:v>8377227.8399999952</c:v>
                </c:pt>
                <c:pt idx="6">
                  <c:v>8377227.8399999952</c:v>
                </c:pt>
                <c:pt idx="7">
                  <c:v>8877507.7999999952</c:v>
                </c:pt>
                <c:pt idx="8">
                  <c:v>8255769.3999999948</c:v>
                </c:pt>
                <c:pt idx="9">
                  <c:v>8255769.3999999948</c:v>
                </c:pt>
                <c:pt idx="10">
                  <c:v>9370247.1399999969</c:v>
                </c:pt>
                <c:pt idx="11">
                  <c:v>9370247.1399999969</c:v>
                </c:pt>
                <c:pt idx="12">
                  <c:v>9158078.2699999977</c:v>
                </c:pt>
                <c:pt idx="13">
                  <c:v>7505392.2399999974</c:v>
                </c:pt>
                <c:pt idx="14">
                  <c:v>7505392.2399999974</c:v>
                </c:pt>
                <c:pt idx="15">
                  <c:v>8956237.8099999968</c:v>
                </c:pt>
                <c:pt idx="16">
                  <c:v>8489307.1199999973</c:v>
                </c:pt>
                <c:pt idx="17">
                  <c:v>8489307.1199999973</c:v>
                </c:pt>
                <c:pt idx="18">
                  <c:v>9224085.4899999965</c:v>
                </c:pt>
                <c:pt idx="19">
                  <c:v>8207221.5799999963</c:v>
                </c:pt>
                <c:pt idx="20">
                  <c:v>8207221.5799999963</c:v>
                </c:pt>
                <c:pt idx="21">
                  <c:v>9449427.2199999969</c:v>
                </c:pt>
                <c:pt idx="22">
                  <c:v>9449427.21999999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4EF-4130-83B4-DEF93DA374A6}"/>
            </c:ext>
          </c:extLst>
        </c:ser>
        <c:ser>
          <c:idx val="1"/>
          <c:order val="1"/>
          <c:spPr>
            <a:solidFill>
              <a:srgbClr val="D6D7D9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4EF-4130-83B4-DEF93DA374A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4EF-4130-83B4-DEF93DA374A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54EF-4130-83B4-DEF93DA374A6}"/>
              </c:ext>
            </c:extLst>
          </c:dPt>
          <c:dPt>
            <c:idx val="4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54EF-4130-83B4-DEF93DA374A6}"/>
              </c:ext>
            </c:extLst>
          </c:dPt>
          <c:dPt>
            <c:idx val="5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54EF-4130-83B4-DEF93DA374A6}"/>
              </c:ext>
            </c:extLst>
          </c:dPt>
          <c:dPt>
            <c:idx val="6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54EF-4130-83B4-DEF93DA374A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54EF-4130-83B4-DEF93DA374A6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54EF-4130-83B4-DEF93DA374A6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54EF-4130-83B4-DEF93DA374A6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54EF-4130-83B4-DEF93DA374A6}"/>
              </c:ext>
            </c:extLst>
          </c:dPt>
          <c:dPt>
            <c:idx val="15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E-54EF-4130-83B4-DEF93DA374A6}"/>
              </c:ext>
            </c:extLst>
          </c:dPt>
          <c:dPt>
            <c:idx val="16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54EF-4130-83B4-DEF93DA374A6}"/>
              </c:ext>
            </c:extLst>
          </c:dPt>
          <c:dPt>
            <c:idx val="17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0-54EF-4130-83B4-DEF93DA374A6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1-54EF-4130-83B4-DEF93DA374A6}"/>
              </c:ext>
            </c:extLst>
          </c:dPt>
          <c:val>
            <c:numRef>
              <c:f>Sheet1!$A$2:$W$2</c:f>
              <c:numCache>
                <c:formatCode>General</c:formatCode>
                <c:ptCount val="23"/>
                <c:pt idx="1">
                  <c:v>207449.74000000022</c:v>
                </c:pt>
                <c:pt idx="2">
                  <c:v>2009513.9500000002</c:v>
                </c:pt>
                <c:pt idx="3">
                  <c:v>1734204.1399999997</c:v>
                </c:pt>
                <c:pt idx="4">
                  <c:v>519243.65000000037</c:v>
                </c:pt>
                <c:pt idx="5">
                  <c:v>457754.71999999974</c:v>
                </c:pt>
                <c:pt idx="6">
                  <c:v>500279.95999999996</c:v>
                </c:pt>
                <c:pt idx="7">
                  <c:v>132574.18999999948</c:v>
                </c:pt>
                <c:pt idx="8">
                  <c:v>754312.58999999985</c:v>
                </c:pt>
                <c:pt idx="9">
                  <c:v>1341015.1000000015</c:v>
                </c:pt>
                <c:pt idx="10">
                  <c:v>226537.3599999994</c:v>
                </c:pt>
                <c:pt idx="12">
                  <c:v>212168.86999999918</c:v>
                </c:pt>
                <c:pt idx="13">
                  <c:v>1652686.0300000003</c:v>
                </c:pt>
                <c:pt idx="14">
                  <c:v>1498069.169999999</c:v>
                </c:pt>
                <c:pt idx="15">
                  <c:v>47223.599999999627</c:v>
                </c:pt>
                <c:pt idx="16">
                  <c:v>466930.68999999948</c:v>
                </c:pt>
                <c:pt idx="17">
                  <c:v>734778.36999999918</c:v>
                </c:pt>
                <c:pt idx="18">
                  <c:v>379944.91999999993</c:v>
                </c:pt>
                <c:pt idx="19">
                  <c:v>1396808.83</c:v>
                </c:pt>
                <c:pt idx="20">
                  <c:v>1514512.1500000004</c:v>
                </c:pt>
                <c:pt idx="21">
                  <c:v>272306.509999999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54EF-4130-83B4-DEF93DA374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01737615"/>
        <c:axId val="1"/>
      </c:barChart>
      <c:catAx>
        <c:axId val="10017376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721733.729999996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017376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069255180138141E-3"/>
          <c:y val="1.779603011635866E-2"/>
          <c:w val="0.98058614896397245"/>
          <c:h val="0.9644079397672826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62C-4B01-9AE6-4CA980622F45}"/>
              </c:ext>
            </c:extLst>
          </c:dPt>
          <c:dPt>
            <c:idx val="11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62C-4B01-9AE6-4CA980622F45}"/>
              </c:ext>
            </c:extLst>
          </c:dPt>
          <c:dPt>
            <c:idx val="22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62C-4B01-9AE6-4CA980622F45}"/>
              </c:ext>
            </c:extLst>
          </c:dPt>
          <c:val>
            <c:numRef>
              <c:f>Sheet1!$A$1:$W$1</c:f>
              <c:numCache>
                <c:formatCode>General</c:formatCode>
                <c:ptCount val="23"/>
                <c:pt idx="0">
                  <c:v>1398180.1400000001</c:v>
                </c:pt>
                <c:pt idx="1">
                  <c:v>8591048.7200000007</c:v>
                </c:pt>
                <c:pt idx="2">
                  <c:v>6581534.7700000005</c:v>
                </c:pt>
                <c:pt idx="3">
                  <c:v>6581534.7700000005</c:v>
                </c:pt>
                <c:pt idx="4">
                  <c:v>8315738.9100000001</c:v>
                </c:pt>
                <c:pt idx="5">
                  <c:v>8377227.8400000008</c:v>
                </c:pt>
                <c:pt idx="6">
                  <c:v>8377227.8400000008</c:v>
                </c:pt>
                <c:pt idx="7">
                  <c:v>8877507.8000000007</c:v>
                </c:pt>
                <c:pt idx="8">
                  <c:v>8255769.4000000004</c:v>
                </c:pt>
                <c:pt idx="9">
                  <c:v>8255769.4000000004</c:v>
                </c:pt>
                <c:pt idx="10">
                  <c:v>9370247.1400000006</c:v>
                </c:pt>
                <c:pt idx="11">
                  <c:v>1959949.03</c:v>
                </c:pt>
                <c:pt idx="12">
                  <c:v>9158078.2700000014</c:v>
                </c:pt>
                <c:pt idx="13">
                  <c:v>7505392.2400000012</c:v>
                </c:pt>
                <c:pt idx="14">
                  <c:v>7505392.2400000012</c:v>
                </c:pt>
                <c:pt idx="15">
                  <c:v>8956237.8100000005</c:v>
                </c:pt>
                <c:pt idx="16">
                  <c:v>8489307.120000001</c:v>
                </c:pt>
                <c:pt idx="17">
                  <c:v>8489307.120000001</c:v>
                </c:pt>
                <c:pt idx="18">
                  <c:v>9224085.4900000002</c:v>
                </c:pt>
                <c:pt idx="19">
                  <c:v>8207221.5800000001</c:v>
                </c:pt>
                <c:pt idx="20">
                  <c:v>8207221.5800000001</c:v>
                </c:pt>
                <c:pt idx="21">
                  <c:v>9449427.2200000007</c:v>
                </c:pt>
                <c:pt idx="22">
                  <c:v>2180573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62C-4B01-9AE6-4CA980622F45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62C-4B01-9AE6-4CA980622F45}"/>
              </c:ext>
            </c:extLst>
          </c:dPt>
          <c:dPt>
            <c:idx val="5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62C-4B01-9AE6-4CA980622F45}"/>
              </c:ext>
            </c:extLst>
          </c:dPt>
          <c:dPt>
            <c:idx val="6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A62C-4B01-9AE6-4CA980622F45}"/>
              </c:ext>
            </c:extLst>
          </c:dPt>
          <c:dPt>
            <c:idx val="7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A62C-4B01-9AE6-4CA980622F45}"/>
              </c:ext>
            </c:extLst>
          </c:dPt>
          <c:dPt>
            <c:idx val="8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A62C-4B01-9AE6-4CA980622F45}"/>
              </c:ext>
            </c:extLst>
          </c:dPt>
          <c:dPt>
            <c:idx val="9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A62C-4B01-9AE6-4CA980622F45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A62C-4B01-9AE6-4CA980622F45}"/>
              </c:ext>
            </c:extLst>
          </c:dPt>
          <c:dPt>
            <c:idx val="15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A62C-4B01-9AE6-4CA980622F45}"/>
              </c:ext>
            </c:extLst>
          </c:dPt>
          <c:dPt>
            <c:idx val="16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A62C-4B01-9AE6-4CA980622F45}"/>
              </c:ext>
            </c:extLst>
          </c:dPt>
          <c:dPt>
            <c:idx val="17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A62C-4B01-9AE6-4CA980622F45}"/>
              </c:ext>
            </c:extLst>
          </c:dPt>
          <c:dPt>
            <c:idx val="18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E-A62C-4B01-9AE6-4CA980622F45}"/>
              </c:ext>
            </c:extLst>
          </c:dPt>
          <c:dPt>
            <c:idx val="19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A62C-4B01-9AE6-4CA980622F45}"/>
              </c:ext>
            </c:extLst>
          </c:dPt>
          <c:dPt>
            <c:idx val="20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0-A62C-4B01-9AE6-4CA980622F45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1-A62C-4B01-9AE6-4CA980622F45}"/>
              </c:ext>
            </c:extLst>
          </c:dPt>
          <c:val>
            <c:numRef>
              <c:f>Sheet1!$A$2:$W$2</c:f>
              <c:numCache>
                <c:formatCode>General</c:formatCode>
                <c:ptCount val="23"/>
                <c:pt idx="0">
                  <c:v>2933323.27</c:v>
                </c:pt>
                <c:pt idx="1">
                  <c:v>207449.74000000022</c:v>
                </c:pt>
                <c:pt idx="2">
                  <c:v>2009513.9500000002</c:v>
                </c:pt>
                <c:pt idx="3">
                  <c:v>1734204.1399999997</c:v>
                </c:pt>
                <c:pt idx="4">
                  <c:v>519243.65000000037</c:v>
                </c:pt>
                <c:pt idx="5">
                  <c:v>457754.71999999974</c:v>
                </c:pt>
                <c:pt idx="6">
                  <c:v>500279.95999999996</c:v>
                </c:pt>
                <c:pt idx="7">
                  <c:v>132574.18999999948</c:v>
                </c:pt>
                <c:pt idx="8">
                  <c:v>754312.58999999985</c:v>
                </c:pt>
                <c:pt idx="9">
                  <c:v>1341015.0999999996</c:v>
                </c:pt>
                <c:pt idx="10">
                  <c:v>226537.3599999994</c:v>
                </c:pt>
                <c:pt idx="11">
                  <c:v>2450563.7200000016</c:v>
                </c:pt>
                <c:pt idx="12">
                  <c:v>212168.86999999918</c:v>
                </c:pt>
                <c:pt idx="13">
                  <c:v>1652686.0300000003</c:v>
                </c:pt>
                <c:pt idx="14">
                  <c:v>1498069.169999999</c:v>
                </c:pt>
                <c:pt idx="15">
                  <c:v>47223.599999999627</c:v>
                </c:pt>
                <c:pt idx="16">
                  <c:v>466930.68999999948</c:v>
                </c:pt>
                <c:pt idx="17">
                  <c:v>734778.36999999918</c:v>
                </c:pt>
                <c:pt idx="18">
                  <c:v>379944.91999999993</c:v>
                </c:pt>
                <c:pt idx="19">
                  <c:v>1396808.83</c:v>
                </c:pt>
                <c:pt idx="20">
                  <c:v>1514512.1500000004</c:v>
                </c:pt>
                <c:pt idx="21">
                  <c:v>272306.50999999978</c:v>
                </c:pt>
                <c:pt idx="22">
                  <c:v>2083777.98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A62C-4B01-9AE6-4CA980622F45}"/>
            </c:ext>
          </c:extLst>
        </c:ser>
        <c:ser>
          <c:idx val="2"/>
          <c:order val="2"/>
          <c:spPr>
            <a:solidFill>
              <a:srgbClr val="D6D7D9"/>
            </a:solidFill>
            <a:ln>
              <a:noFill/>
            </a:ln>
          </c:spPr>
          <c:invertIfNegative val="0"/>
          <c:val>
            <c:numRef>
              <c:f>Sheet1!$A$3:$W$3</c:f>
              <c:numCache>
                <c:formatCode>General</c:formatCode>
                <c:ptCount val="23"/>
                <c:pt idx="0">
                  <c:v>2718371.8599999994</c:v>
                </c:pt>
                <c:pt idx="11">
                  <c:v>3437648.5600000015</c:v>
                </c:pt>
                <c:pt idx="22">
                  <c:v>3935296.8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A62C-4B01-9AE6-4CA980622F45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4:$W$4</c:f>
              <c:numCache>
                <c:formatCode>General</c:formatCode>
                <c:ptCount val="23"/>
                <c:pt idx="0">
                  <c:v>1748623.1900000013</c:v>
                </c:pt>
                <c:pt idx="11">
                  <c:v>1522085.830000001</c:v>
                </c:pt>
                <c:pt idx="22">
                  <c:v>1249779.32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A62C-4B01-9AE6-4CA980622F45}"/>
            </c:ext>
          </c:extLst>
        </c:ser>
        <c:ser>
          <c:idx val="4"/>
          <c:order val="4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5:$W$5</c:f>
              <c:numCache>
                <c:formatCode>General</c:formatCode>
                <c:ptCount val="23"/>
                <c:pt idx="11">
                  <c:v>0</c:v>
                </c:pt>
                <c:pt idx="2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A62C-4B01-9AE6-4CA980622F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81568096"/>
        <c:axId val="1"/>
      </c:barChart>
      <c:catAx>
        <c:axId val="15815680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721733.730000000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815680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897227856659904E-3"/>
          <c:y val="1.8772563176895306E-2"/>
          <c:w val="0.98242055442866805"/>
          <c:h val="0.9624548736462093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39F-4E09-A2D8-36FB4CB5B60D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39F-4E09-A2D8-36FB4CB5B60D}"/>
              </c:ext>
            </c:extLst>
          </c:dPt>
          <c:dPt>
            <c:idx val="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039F-4E09-A2D8-36FB4CB5B60D}"/>
              </c:ext>
            </c:extLst>
          </c:dPt>
          <c:dPt>
            <c:idx val="1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39F-4E09-A2D8-36FB4CB5B60D}"/>
              </c:ext>
            </c:extLst>
          </c:dPt>
          <c:val>
            <c:numRef>
              <c:f>Sheet1!$A$1:$M$1</c:f>
              <c:numCache>
                <c:formatCode>General</c:formatCode>
                <c:ptCount val="13"/>
                <c:pt idx="0">
                  <c:v>10439067.619999986</c:v>
                </c:pt>
                <c:pt idx="1">
                  <c:v>10439067.619999986</c:v>
                </c:pt>
                <c:pt idx="2">
                  <c:v>10153334.379999986</c:v>
                </c:pt>
                <c:pt idx="3">
                  <c:v>10153334.379999986</c:v>
                </c:pt>
                <c:pt idx="4">
                  <c:v>10323138.819999985</c:v>
                </c:pt>
                <c:pt idx="5">
                  <c:v>10323138.819999985</c:v>
                </c:pt>
                <c:pt idx="6">
                  <c:v>9915353.4899999835</c:v>
                </c:pt>
                <c:pt idx="7">
                  <c:v>9915353.4899999835</c:v>
                </c:pt>
                <c:pt idx="8">
                  <c:v>10108765.509999983</c:v>
                </c:pt>
                <c:pt idx="9">
                  <c:v>9765235.4899999835</c:v>
                </c:pt>
                <c:pt idx="10">
                  <c:v>8780400.8199999835</c:v>
                </c:pt>
                <c:pt idx="11">
                  <c:v>8780400.8199999835</c:v>
                </c:pt>
                <c:pt idx="12">
                  <c:v>9075224.71999998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39F-4E09-A2D8-36FB4CB5B60D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039F-4E09-A2D8-36FB4CB5B60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039F-4E09-A2D8-36FB4CB5B60D}"/>
              </c:ext>
            </c:extLst>
          </c:dPt>
          <c:dPt>
            <c:idx val="5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039F-4E09-A2D8-36FB4CB5B60D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039F-4E09-A2D8-36FB4CB5B60D}"/>
              </c:ext>
            </c:extLst>
          </c:dPt>
          <c:dPt>
            <c:idx val="9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039F-4E09-A2D8-36FB4CB5B60D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039F-4E09-A2D8-36FB4CB5B60D}"/>
              </c:ext>
            </c:extLst>
          </c:dPt>
          <c:val>
            <c:numRef>
              <c:f>Sheet1!$A$2:$M$2</c:f>
              <c:numCache>
                <c:formatCode>General</c:formatCode>
                <c:ptCount val="13"/>
                <c:pt idx="1">
                  <c:v>176360.59999999963</c:v>
                </c:pt>
                <c:pt idx="2">
                  <c:v>462093.83999999985</c:v>
                </c:pt>
                <c:pt idx="3">
                  <c:v>169804.43999999948</c:v>
                </c:pt>
                <c:pt idx="5">
                  <c:v>57317.219999998808</c:v>
                </c:pt>
                <c:pt idx="6">
                  <c:v>465102.55000000075</c:v>
                </c:pt>
                <c:pt idx="7">
                  <c:v>193412.01999999955</c:v>
                </c:pt>
                <c:pt idx="9">
                  <c:v>343530.01999999955</c:v>
                </c:pt>
                <c:pt idx="10">
                  <c:v>984834.66999999993</c:v>
                </c:pt>
                <c:pt idx="11">
                  <c:v>294823.900000000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039F-4E09-A2D8-36FB4CB5B6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73849872"/>
        <c:axId val="1"/>
      </c:barChart>
      <c:catAx>
        <c:axId val="10738498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615428.21999998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738498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195275009228498E-2"/>
          <c:y val="3.3613445378151259E-2"/>
          <c:w val="0.96160944998154296"/>
          <c:h val="0.93277310924369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34.925578940000001</c:v>
                </c:pt>
                <c:pt idx="1">
                  <c:v>33.77835031</c:v>
                </c:pt>
                <c:pt idx="2">
                  <c:v>32.210015220000003</c:v>
                </c:pt>
                <c:pt idx="3">
                  <c:v>30.638499759999998</c:v>
                </c:pt>
                <c:pt idx="4">
                  <c:v>30.846094260000001</c:v>
                </c:pt>
                <c:pt idx="5">
                  <c:v>31.010627459999998</c:v>
                </c:pt>
                <c:pt idx="6">
                  <c:v>31.518950100000001</c:v>
                </c:pt>
                <c:pt idx="7">
                  <c:v>32.184584409999999</c:v>
                </c:pt>
                <c:pt idx="8">
                  <c:v>33.001593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58-466A-8CF4-2F41D692F9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64912607"/>
        <c:axId val="1"/>
      </c:barChart>
      <c:catAx>
        <c:axId val="12649126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.92557894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6491260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771863117870721E-2"/>
          <c:y val="3.3964728935336384E-2"/>
          <c:w val="0.96045627376425846"/>
          <c:h val="0.9320705421293272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37.344589440983867</c:v>
                </c:pt>
                <c:pt idx="1">
                  <c:v>33.53180832796324</c:v>
                </c:pt>
                <c:pt idx="2">
                  <c:v>32.72298943184478</c:v>
                </c:pt>
                <c:pt idx="3">
                  <c:v>32.005029828895331</c:v>
                </c:pt>
                <c:pt idx="4">
                  <c:v>32.596605979075193</c:v>
                </c:pt>
                <c:pt idx="5">
                  <c:v>33.194583327925471</c:v>
                </c:pt>
                <c:pt idx="6">
                  <c:v>34.131050634998104</c:v>
                </c:pt>
                <c:pt idx="7">
                  <c:v>35.253771025936665</c:v>
                </c:pt>
                <c:pt idx="8">
                  <c:v>36.9057759570238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36-4557-A7FA-A52EFD2FB6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62504319"/>
        <c:axId val="1"/>
      </c:barChart>
      <c:catAx>
        <c:axId val="10625043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7.34458944098386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625043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ans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600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/>
              <a:t>Click to edit Master title style</a:t>
            </a:r>
            <a:endParaRPr lang="en-US" altLang="en-GB" dirty="0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DAB023CD-156D-4860-ACD8-2D21E20907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5274" y="6580025"/>
            <a:ext cx="7131600" cy="244800"/>
          </a:xfrm>
        </p:spPr>
        <p:txBody>
          <a:bodyPr vert="horz" lIns="0" tIns="0" rIns="0" bIns="0" rtlCol="0" anchor="t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C6C6C"/>
              </a:buClr>
              <a:buSzPct val="100000"/>
              <a:buFont typeface="Arial" panose="020B0604020202020204" pitchFamily="34" charset="0"/>
              <a:buNone/>
              <a:tabLst/>
              <a:defRPr kumimoji="0" lang="fr-FR" sz="800" b="0" i="1" u="none" strike="noStrike" kern="0" cap="none" spc="0" normalizeH="0" baseline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fr-FR" kern="1200" smtClean="0">
                <a:ea typeface="+mn-ea"/>
                <a:cs typeface="Arial" pitchFamily="34" charset="0"/>
              </a:defRPr>
            </a:lvl2pPr>
            <a:lvl3pPr>
              <a:defRPr lang="fr-FR" kern="1200" smtClean="0">
                <a:ea typeface="+mn-ea"/>
                <a:cs typeface="Arial" pitchFamily="34" charset="0"/>
              </a:defRPr>
            </a:lvl3pPr>
            <a:lvl4pPr>
              <a:defRPr lang="fr-FR" kern="1200" smtClean="0">
                <a:ea typeface="+mn-ea"/>
                <a:cs typeface="Arial" pitchFamily="34" charset="0"/>
              </a:defRPr>
            </a:lvl4pPr>
            <a:lvl5pPr>
              <a:defRPr lang="fr-FR" kern="1200">
                <a:ea typeface="+mn-ea"/>
                <a:cs typeface="Arial" pitchFamily="34" charset="0"/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C6C6C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1" u="none" strike="noStrike" kern="0" cap="none" spc="0" normalizeH="0" baseline="0" noProof="0" dirty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ources: </a:t>
            </a:r>
            <a:br>
              <a:rPr kumimoji="0" lang="en-GB" sz="800" b="0" i="1" u="none" strike="noStrike" kern="0" cap="none" spc="0" normalizeH="0" baseline="0" noProof="0" dirty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</a:br>
            <a:r>
              <a:rPr kumimoji="0" lang="fr-FR" sz="800" b="0" i="1" u="none" strike="noStrike" kern="0" cap="none" spc="0" normalizeH="0" baseline="0" noProof="0" dirty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</a:t>
            </a:r>
            <a:r>
              <a:rPr kumimoji="0" lang="en-GB" sz="800" b="0" i="1" u="none" strike="noStrike" kern="0" cap="none" spc="0" normalizeH="0" baseline="0" noProof="0" dirty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. Note	2. Note</a:t>
            </a:r>
          </a:p>
        </p:txBody>
      </p:sp>
    </p:spTree>
    <p:extLst>
      <p:ext uri="{BB962C8B-B14F-4D97-AF65-F5344CB8AC3E}">
        <p14:creationId xmlns:p14="http://schemas.microsoft.com/office/powerpoint/2010/main" val="317899223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ns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C0C73928-E24E-4BBC-9DAA-A9A83623FF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5274" y="6580025"/>
            <a:ext cx="7131600" cy="244800"/>
          </a:xfrm>
        </p:spPr>
        <p:txBody>
          <a:bodyPr vert="horz" lIns="0" tIns="0" rIns="0" bIns="0" rtlCol="0" anchor="t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C6C6C"/>
              </a:buClr>
              <a:buSzPct val="100000"/>
              <a:buFont typeface="Arial" panose="020B0604020202020204" pitchFamily="34" charset="0"/>
              <a:buNone/>
              <a:tabLst/>
              <a:defRPr kumimoji="0" lang="fr-FR" sz="800" b="0" i="1" u="none" strike="noStrike" kern="0" cap="none" spc="0" normalizeH="0" baseline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fr-FR" kern="1200" smtClean="0">
                <a:ea typeface="+mn-ea"/>
                <a:cs typeface="Arial" pitchFamily="34" charset="0"/>
              </a:defRPr>
            </a:lvl2pPr>
            <a:lvl3pPr>
              <a:defRPr lang="fr-FR" kern="1200" smtClean="0">
                <a:ea typeface="+mn-ea"/>
                <a:cs typeface="Arial" pitchFamily="34" charset="0"/>
              </a:defRPr>
            </a:lvl3pPr>
            <a:lvl4pPr>
              <a:defRPr lang="fr-FR" kern="1200" smtClean="0">
                <a:ea typeface="+mn-ea"/>
                <a:cs typeface="Arial" pitchFamily="34" charset="0"/>
              </a:defRPr>
            </a:lvl4pPr>
            <a:lvl5pPr>
              <a:defRPr lang="fr-FR" kern="1200">
                <a:ea typeface="+mn-ea"/>
                <a:cs typeface="Arial" pitchFamily="34" charset="0"/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C6C6C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1" u="none" strike="noStrike" kern="0" cap="none" spc="0" normalizeH="0" baseline="0" noProof="0" dirty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ources: </a:t>
            </a:r>
            <a:br>
              <a:rPr kumimoji="0" lang="en-GB" sz="800" b="0" i="1" u="none" strike="noStrike" kern="0" cap="none" spc="0" normalizeH="0" baseline="0" noProof="0" dirty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</a:br>
            <a:r>
              <a:rPr kumimoji="0" lang="fr-FR" sz="800" b="0" i="1" u="none" strike="noStrike" kern="0" cap="none" spc="0" normalizeH="0" baseline="0" noProof="0" dirty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</a:t>
            </a:r>
            <a:r>
              <a:rPr kumimoji="0" lang="en-GB" sz="800" b="0" i="1" u="none" strike="noStrike" kern="0" cap="none" spc="0" normalizeH="0" baseline="0" noProof="0" dirty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. Note	2. Note</a:t>
            </a:r>
          </a:p>
        </p:txBody>
      </p:sp>
    </p:spTree>
    <p:extLst>
      <p:ext uri="{BB962C8B-B14F-4D97-AF65-F5344CB8AC3E}">
        <p14:creationId xmlns:p14="http://schemas.microsoft.com/office/powerpoint/2010/main" val="102112630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600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/>
              <a:t>Click to edit Master title style</a:t>
            </a:r>
            <a:endParaRPr lang="en-US" altLang="en-GB" dirty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65600" y="943200"/>
            <a:ext cx="9540000" cy="543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  <a:lvl2pPr marL="363537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+mj-lt"/>
                <a:cs typeface="Arial" pitchFamily="34" charset="0"/>
              </a:defRPr>
            </a:lvl2pPr>
            <a:lvl3pPr marL="623887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+mj-lt"/>
                <a:cs typeface="Arial" pitchFamily="34" charset="0"/>
              </a:defRPr>
            </a:lvl3pPr>
            <a:lvl4pPr marL="906463" indent="0">
              <a:buFont typeface="Arial" panose="020B0604020202020204" pitchFamily="34" charset="0"/>
              <a:buNone/>
              <a:defRPr lang="en-GB" sz="100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 marL="1174750" indent="0">
              <a:buFont typeface="Arial" panose="020B0604020202020204" pitchFamily="34" charset="0"/>
              <a:buNone/>
              <a:defRPr lang="fr-FR" altLang="en-GB" sz="1000" noProof="0" dirty="0" smtClean="0">
                <a:solidFill>
                  <a:schemeClr val="tx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fr-FR" noProof="0" dirty="0"/>
              <a:t>Cliquez pour modifier les styles du texte du masque</a:t>
            </a:r>
          </a:p>
          <a:p>
            <a:pPr lvl="4"/>
            <a:endParaRPr lang="fr-FR" noProof="0" dirty="0"/>
          </a:p>
          <a:p>
            <a:pPr lvl="3"/>
            <a:endParaRPr lang="fr-FR" noProof="0" dirty="0"/>
          </a:p>
          <a:p>
            <a:pPr lvl="3"/>
            <a:endParaRPr lang="fr-FR" noProof="0" dirty="0"/>
          </a:p>
          <a:p>
            <a:pPr lvl="4"/>
            <a:endParaRPr lang="fr-FR" noProof="0" dirty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B1654254-4792-4FA9-8477-E72E811378E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5274" y="6580025"/>
            <a:ext cx="7131600" cy="244800"/>
          </a:xfrm>
        </p:spPr>
        <p:txBody>
          <a:bodyPr vert="horz" lIns="0" tIns="0" rIns="0" bIns="0" rtlCol="0" anchor="t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C6C6C"/>
              </a:buClr>
              <a:buSzPct val="100000"/>
              <a:buFont typeface="Arial" panose="020B0604020202020204" pitchFamily="34" charset="0"/>
              <a:buNone/>
              <a:tabLst/>
              <a:defRPr kumimoji="0" lang="fr-FR" sz="800" b="0" i="1" u="none" strike="noStrike" kern="0" cap="none" spc="0" normalizeH="0" baseline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fr-FR" kern="1200" smtClean="0">
                <a:ea typeface="+mn-ea"/>
                <a:cs typeface="Arial" pitchFamily="34" charset="0"/>
              </a:defRPr>
            </a:lvl2pPr>
            <a:lvl3pPr>
              <a:defRPr lang="fr-FR" kern="1200" smtClean="0">
                <a:ea typeface="+mn-ea"/>
                <a:cs typeface="Arial" pitchFamily="34" charset="0"/>
              </a:defRPr>
            </a:lvl3pPr>
            <a:lvl4pPr>
              <a:defRPr lang="fr-FR" kern="1200" smtClean="0">
                <a:ea typeface="+mn-ea"/>
                <a:cs typeface="Arial" pitchFamily="34" charset="0"/>
              </a:defRPr>
            </a:lvl4pPr>
            <a:lvl5pPr>
              <a:defRPr lang="fr-FR" kern="1200">
                <a:ea typeface="+mn-ea"/>
                <a:cs typeface="Arial" pitchFamily="34" charset="0"/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C6C6C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1" u="none" strike="noStrike" kern="0" cap="none" spc="0" normalizeH="0" baseline="0" noProof="0" dirty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ources: </a:t>
            </a:r>
            <a:br>
              <a:rPr kumimoji="0" lang="en-GB" sz="800" b="0" i="1" u="none" strike="noStrike" kern="0" cap="none" spc="0" normalizeH="0" baseline="0" noProof="0" dirty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</a:br>
            <a:r>
              <a:rPr kumimoji="0" lang="fr-FR" sz="800" b="0" i="1" u="none" strike="noStrike" kern="0" cap="none" spc="0" normalizeH="0" baseline="0" noProof="0" dirty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</a:t>
            </a:r>
            <a:r>
              <a:rPr kumimoji="0" lang="en-GB" sz="800" b="0" i="1" u="none" strike="noStrike" kern="0" cap="none" spc="0" normalizeH="0" baseline="0" noProof="0" dirty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. Note	2. Note</a:t>
            </a:r>
          </a:p>
        </p:txBody>
      </p:sp>
    </p:spTree>
    <p:extLst>
      <p:ext uri="{BB962C8B-B14F-4D97-AF65-F5344CB8AC3E}">
        <p14:creationId xmlns:p14="http://schemas.microsoft.com/office/powerpoint/2010/main" val="2611210575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double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600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en-GB"/>
              <a:t>Click to edit Master title style</a:t>
            </a:r>
            <a:endParaRPr lang="en-US" altLang="en-GB" dirty="0"/>
          </a:p>
        </p:txBody>
      </p:sp>
      <p:sp>
        <p:nvSpPr>
          <p:cNvPr id="5" name="Espace réservé du texte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363633" y="1789043"/>
            <a:ext cx="4356000" cy="45228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533400" indent="0">
              <a:buNone/>
              <a:defRPr sz="1100">
                <a:solidFill>
                  <a:schemeClr val="tx1"/>
                </a:solidFill>
              </a:defRPr>
            </a:lvl2pPr>
            <a:lvl3pPr marL="847725" indent="0">
              <a:buNone/>
              <a:defRPr sz="1100">
                <a:solidFill>
                  <a:schemeClr val="tx1"/>
                </a:solidFill>
              </a:defRPr>
            </a:lvl3pPr>
            <a:lvl4pPr marL="1368425" indent="0">
              <a:buNone/>
              <a:defRPr sz="1100">
                <a:solidFill>
                  <a:schemeClr val="tx1"/>
                </a:solidFill>
              </a:defRPr>
            </a:lvl4pPr>
            <a:lvl5pPr marL="198120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 dirty="0"/>
              <a:t>Cliquez pour modifier les styles du texte du masque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idx="11" hasCustomPrompt="1"/>
            <p:custDataLst>
              <p:tags r:id="rId3"/>
            </p:custDataLst>
          </p:nvPr>
        </p:nvSpPr>
        <p:spPr>
          <a:xfrm>
            <a:off x="5211128" y="1789043"/>
            <a:ext cx="4356000" cy="45228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533400" indent="0">
              <a:buNone/>
              <a:defRPr sz="1100">
                <a:solidFill>
                  <a:schemeClr val="tx1"/>
                </a:solidFill>
              </a:defRPr>
            </a:lvl2pPr>
            <a:lvl3pPr marL="847725" indent="0">
              <a:buNone/>
              <a:defRPr sz="1100">
                <a:solidFill>
                  <a:schemeClr val="tx1"/>
                </a:solidFill>
              </a:defRPr>
            </a:lvl3pPr>
            <a:lvl4pPr marL="1368425" indent="0">
              <a:buNone/>
              <a:defRPr sz="1100">
                <a:solidFill>
                  <a:schemeClr val="tx1"/>
                </a:solidFill>
              </a:defRPr>
            </a:lvl4pPr>
            <a:lvl5pPr marL="198120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 dirty="0"/>
              <a:t>Cliquez pour modifier les styles du texte du masque</a:t>
            </a:r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363633" y="1084336"/>
            <a:ext cx="4354138" cy="364902"/>
          </a:xfrm>
        </p:spPr>
        <p:txBody>
          <a:bodyPr>
            <a:noAutofit/>
          </a:bodyPr>
          <a:lstStyle>
            <a:lvl1pPr marL="0" indent="0">
              <a:buNone/>
              <a:defRPr lang="fr-FR" sz="1400" b="0" dirty="0" smtClean="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" name="Connecteur droit 2"/>
          <p:cNvCxnSpPr/>
          <p:nvPr/>
        </p:nvCxnSpPr>
        <p:spPr bwMode="auto">
          <a:xfrm>
            <a:off x="363633" y="1570005"/>
            <a:ext cx="43541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Connecteur droit 8"/>
          <p:cNvCxnSpPr/>
          <p:nvPr/>
        </p:nvCxnSpPr>
        <p:spPr bwMode="auto">
          <a:xfrm>
            <a:off x="5211128" y="1570005"/>
            <a:ext cx="43541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211128" y="1084336"/>
            <a:ext cx="4354138" cy="364902"/>
          </a:xfrm>
        </p:spPr>
        <p:txBody>
          <a:bodyPr>
            <a:noAutofit/>
          </a:bodyPr>
          <a:lstStyle>
            <a:lvl1pPr marL="0" indent="0">
              <a:buNone/>
              <a:defRPr lang="fr-FR" sz="1400" b="0" dirty="0" smtClean="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cxnSp>
        <p:nvCxnSpPr>
          <p:cNvPr id="8" name="Connecteur droit 7"/>
          <p:cNvCxnSpPr/>
          <p:nvPr/>
        </p:nvCxnSpPr>
        <p:spPr bwMode="auto">
          <a:xfrm>
            <a:off x="4951562" y="1789043"/>
            <a:ext cx="0" cy="452285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Espace réservé du texte 4">
            <a:extLst>
              <a:ext uri="{FF2B5EF4-FFF2-40B4-BE49-F238E27FC236}">
                <a16:creationId xmlns:a16="http://schemas.microsoft.com/office/drawing/2014/main" id="{713081DF-1234-4172-BAF5-C8C5A3DB83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15274" y="6580025"/>
            <a:ext cx="7131600" cy="244800"/>
          </a:xfrm>
        </p:spPr>
        <p:txBody>
          <a:bodyPr vert="horz" lIns="0" tIns="0" rIns="0" bIns="0" rtlCol="0" anchor="t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C6C6C"/>
              </a:buClr>
              <a:buSzPct val="100000"/>
              <a:buFont typeface="Arial" panose="020B0604020202020204" pitchFamily="34" charset="0"/>
              <a:buNone/>
              <a:tabLst/>
              <a:defRPr kumimoji="0" lang="fr-FR" sz="800" b="0" i="1" u="none" strike="noStrike" kern="0" cap="none" spc="0" normalizeH="0" baseline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fr-FR" kern="1200" smtClean="0">
                <a:ea typeface="+mn-ea"/>
                <a:cs typeface="Arial" pitchFamily="34" charset="0"/>
              </a:defRPr>
            </a:lvl2pPr>
            <a:lvl3pPr>
              <a:defRPr lang="fr-FR" kern="1200" smtClean="0">
                <a:ea typeface="+mn-ea"/>
                <a:cs typeface="Arial" pitchFamily="34" charset="0"/>
              </a:defRPr>
            </a:lvl3pPr>
            <a:lvl4pPr>
              <a:defRPr lang="fr-FR" kern="1200" smtClean="0">
                <a:ea typeface="+mn-ea"/>
                <a:cs typeface="Arial" pitchFamily="34" charset="0"/>
              </a:defRPr>
            </a:lvl4pPr>
            <a:lvl5pPr>
              <a:defRPr lang="fr-FR" kern="1200">
                <a:ea typeface="+mn-ea"/>
                <a:cs typeface="Arial" pitchFamily="34" charset="0"/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C6C6C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1" u="none" strike="noStrike" kern="0" cap="none" spc="0" normalizeH="0" baseline="0" noProof="0" dirty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ources: </a:t>
            </a:r>
            <a:br>
              <a:rPr kumimoji="0" lang="en-GB" sz="800" b="0" i="1" u="none" strike="noStrike" kern="0" cap="none" spc="0" normalizeH="0" baseline="0" noProof="0" dirty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</a:br>
            <a:r>
              <a:rPr kumimoji="0" lang="fr-FR" sz="800" b="0" i="1" u="none" strike="noStrike" kern="0" cap="none" spc="0" normalizeH="0" baseline="0" noProof="0" dirty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</a:t>
            </a:r>
            <a:r>
              <a:rPr kumimoji="0" lang="en-GB" sz="800" b="0" i="1" u="none" strike="noStrike" kern="0" cap="none" spc="0" normalizeH="0" baseline="0" noProof="0" dirty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. Note	2. Note</a:t>
            </a:r>
          </a:p>
        </p:txBody>
      </p:sp>
    </p:spTree>
    <p:extLst>
      <p:ext uri="{BB962C8B-B14F-4D97-AF65-F5344CB8AC3E}">
        <p14:creationId xmlns:p14="http://schemas.microsoft.com/office/powerpoint/2010/main" val="42120974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0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>
          <a:xfrm>
            <a:off x="975124" y="1845126"/>
            <a:ext cx="5209366" cy="461665"/>
          </a:xfrm>
        </p:spPr>
        <p:txBody>
          <a:bodyPr wrap="square" lIns="0" rIns="0">
            <a:spAutoFit/>
          </a:bodyPr>
          <a:lstStyle>
            <a:lvl1pPr>
              <a:defRPr kumimoji="0" lang="en-GB" sz="2400" b="1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Espace réservé du texte 50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975124" y="3859338"/>
            <a:ext cx="3676775" cy="36036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kumimoji="0" lang="fr-FR" sz="1200" b="0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defRPr>
            </a:lvl1pPr>
          </a:lstStyle>
          <a:p>
            <a:pPr marL="285750" lvl="0" indent="-285750"/>
            <a:r>
              <a:rPr lang="en-US"/>
              <a:t>Click to edit Master text styles</a:t>
            </a:r>
          </a:p>
        </p:txBody>
      </p:sp>
      <p:cxnSp>
        <p:nvCxnSpPr>
          <p:cNvPr id="11" name="Connecteur droit 10"/>
          <p:cNvCxnSpPr/>
          <p:nvPr/>
        </p:nvCxnSpPr>
        <p:spPr>
          <a:xfrm>
            <a:off x="629747" y="6624385"/>
            <a:ext cx="4817743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12" name="Connecteur droit 11"/>
          <p:cNvCxnSpPr/>
          <p:nvPr/>
        </p:nvCxnSpPr>
        <p:spPr>
          <a:xfrm>
            <a:off x="629747" y="5709985"/>
            <a:ext cx="4817743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sp>
        <p:nvSpPr>
          <p:cNvPr id="14" name="Espace réservé du texte 50"/>
          <p:cNvSpPr>
            <a:spLocks noGrp="1"/>
          </p:cNvSpPr>
          <p:nvPr>
            <p:ph type="body" sz="quarter" idx="11"/>
            <p:custDataLst>
              <p:tags r:id="rId3"/>
            </p:custDataLst>
          </p:nvPr>
        </p:nvSpPr>
        <p:spPr>
          <a:xfrm>
            <a:off x="975124" y="4555990"/>
            <a:ext cx="3676775" cy="36036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>
              <a:buNone/>
              <a:defRPr kumimoji="0" lang="fr-FR" sz="1200" b="0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defRPr>
            </a:lvl1pPr>
          </a:lstStyle>
          <a:p>
            <a:pPr marL="285750" lvl="0" indent="-285750"/>
            <a:r>
              <a:rPr lang="en-US"/>
              <a:t>Click to edit Master text styles</a:t>
            </a:r>
          </a:p>
        </p:txBody>
      </p:sp>
      <p:sp>
        <p:nvSpPr>
          <p:cNvPr id="2" name="Rectangle : coins arrondis 1"/>
          <p:cNvSpPr/>
          <p:nvPr/>
        </p:nvSpPr>
        <p:spPr bwMode="auto">
          <a:xfrm>
            <a:off x="975124" y="5932935"/>
            <a:ext cx="1759788" cy="474453"/>
          </a:xfrm>
          <a:prstGeom prst="round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LOGO CLIENT</a:t>
            </a:r>
            <a:endParaRPr kumimoji="0" 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86" name="Graphique 7">
            <a:extLst>
              <a:ext uri="{FF2B5EF4-FFF2-40B4-BE49-F238E27FC236}">
                <a16:creationId xmlns:a16="http://schemas.microsoft.com/office/drawing/2014/main" id="{65C783B5-0FA9-4173-B7B2-D53A2BCB045D}"/>
              </a:ext>
            </a:extLst>
          </p:cNvPr>
          <p:cNvGrpSpPr/>
          <p:nvPr/>
        </p:nvGrpSpPr>
        <p:grpSpPr>
          <a:xfrm>
            <a:off x="3575509" y="5737845"/>
            <a:ext cx="1551553" cy="864631"/>
            <a:chOff x="2269715" y="1722641"/>
            <a:chExt cx="4324350" cy="2409825"/>
          </a:xfrm>
        </p:grpSpPr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DC9A3497-21A3-45E3-A9E4-89DC78B9478D}"/>
                </a:ext>
              </a:extLst>
            </p:cNvPr>
            <p:cNvSpPr/>
            <p:nvPr/>
          </p:nvSpPr>
          <p:spPr>
            <a:xfrm>
              <a:off x="2436869" y="2236734"/>
              <a:ext cx="685800" cy="771525"/>
            </a:xfrm>
            <a:custGeom>
              <a:avLst/>
              <a:gdLst>
                <a:gd name="connsiteX0" fmla="*/ 673275 w 685800"/>
                <a:gd name="connsiteY0" fmla="*/ 400641 h 771525"/>
                <a:gd name="connsiteX1" fmla="*/ 144180 w 685800"/>
                <a:gd name="connsiteY1" fmla="*/ 400641 h 771525"/>
                <a:gd name="connsiteX2" fmla="*/ 214836 w 685800"/>
                <a:gd name="connsiteY2" fmla="*/ 598637 h 771525"/>
                <a:gd name="connsiteX3" fmla="*/ 375333 w 685800"/>
                <a:gd name="connsiteY3" fmla="*/ 658911 h 771525"/>
                <a:gd name="connsiteX4" fmla="*/ 561927 w 685800"/>
                <a:gd name="connsiteY4" fmla="*/ 593931 h 771525"/>
                <a:gd name="connsiteX5" fmla="*/ 616791 w 685800"/>
                <a:gd name="connsiteY5" fmla="*/ 687896 h 771525"/>
                <a:gd name="connsiteX6" fmla="*/ 524218 w 685800"/>
                <a:gd name="connsiteY6" fmla="*/ 739950 h 771525"/>
                <a:gd name="connsiteX7" fmla="*/ 350006 w 685800"/>
                <a:gd name="connsiteY7" fmla="*/ 768725 h 771525"/>
                <a:gd name="connsiteX8" fmla="*/ 114814 w 685800"/>
                <a:gd name="connsiteY8" fmla="*/ 674780 h 771525"/>
                <a:gd name="connsiteX9" fmla="*/ 7144 w 685800"/>
                <a:gd name="connsiteY9" fmla="*/ 396469 h 771525"/>
                <a:gd name="connsiteX10" fmla="*/ 117510 w 685800"/>
                <a:gd name="connsiteY10" fmla="*/ 105118 h 771525"/>
                <a:gd name="connsiteX11" fmla="*/ 351177 w 685800"/>
                <a:gd name="connsiteY11" fmla="*/ 7144 h 771525"/>
                <a:gd name="connsiteX12" fmla="*/ 597179 w 685800"/>
                <a:gd name="connsiteY12" fmla="*/ 95574 h 771525"/>
                <a:gd name="connsiteX13" fmla="*/ 683533 w 685800"/>
                <a:gd name="connsiteY13" fmla="*/ 321107 h 771525"/>
                <a:gd name="connsiteX14" fmla="*/ 673275 w 685800"/>
                <a:gd name="connsiteY14" fmla="*/ 400641 h 771525"/>
                <a:gd name="connsiteX15" fmla="*/ 357597 w 685800"/>
                <a:gd name="connsiteY15" fmla="*/ 116938 h 771525"/>
                <a:gd name="connsiteX16" fmla="*/ 211512 w 685800"/>
                <a:gd name="connsiteY16" fmla="*/ 173050 h 771525"/>
                <a:gd name="connsiteX17" fmla="*/ 147704 w 685800"/>
                <a:gd name="connsiteY17" fmla="*/ 305810 h 771525"/>
                <a:gd name="connsiteX18" fmla="*/ 554422 w 685800"/>
                <a:gd name="connsiteY18" fmla="*/ 305810 h 771525"/>
                <a:gd name="connsiteX19" fmla="*/ 505054 w 685800"/>
                <a:gd name="connsiteY19" fmla="*/ 174450 h 771525"/>
                <a:gd name="connsiteX20" fmla="*/ 357597 w 685800"/>
                <a:gd name="connsiteY20" fmla="*/ 116938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85800" h="771525">
                  <a:moveTo>
                    <a:pt x="673275" y="400641"/>
                  </a:moveTo>
                  <a:lnTo>
                    <a:pt x="144180" y="400641"/>
                  </a:lnTo>
                  <a:cubicBezTo>
                    <a:pt x="144180" y="486518"/>
                    <a:pt x="167735" y="552488"/>
                    <a:pt x="214836" y="598637"/>
                  </a:cubicBezTo>
                  <a:cubicBezTo>
                    <a:pt x="256470" y="638842"/>
                    <a:pt x="309934" y="658911"/>
                    <a:pt x="375333" y="658911"/>
                  </a:cubicBezTo>
                  <a:cubicBezTo>
                    <a:pt x="449885" y="658911"/>
                    <a:pt x="512083" y="637223"/>
                    <a:pt x="561927" y="593931"/>
                  </a:cubicBezTo>
                  <a:lnTo>
                    <a:pt x="616791" y="687896"/>
                  </a:lnTo>
                  <a:cubicBezTo>
                    <a:pt x="596627" y="707993"/>
                    <a:pt x="565775" y="725367"/>
                    <a:pt x="524218" y="739950"/>
                  </a:cubicBezTo>
                  <a:cubicBezTo>
                    <a:pt x="472116" y="759114"/>
                    <a:pt x="414033" y="768725"/>
                    <a:pt x="350006" y="768725"/>
                  </a:cubicBezTo>
                  <a:cubicBezTo>
                    <a:pt x="257670" y="768725"/>
                    <a:pt x="179261" y="737416"/>
                    <a:pt x="114814" y="674780"/>
                  </a:cubicBezTo>
                  <a:cubicBezTo>
                    <a:pt x="43005" y="605828"/>
                    <a:pt x="7144" y="513055"/>
                    <a:pt x="7144" y="396469"/>
                  </a:cubicBezTo>
                  <a:cubicBezTo>
                    <a:pt x="7144" y="275368"/>
                    <a:pt x="43929" y="178241"/>
                    <a:pt x="117510" y="105118"/>
                  </a:cubicBezTo>
                  <a:cubicBezTo>
                    <a:pt x="183290" y="39786"/>
                    <a:pt x="261176" y="7144"/>
                    <a:pt x="351177" y="7144"/>
                  </a:cubicBezTo>
                  <a:cubicBezTo>
                    <a:pt x="455762" y="7144"/>
                    <a:pt x="537772" y="36614"/>
                    <a:pt x="597179" y="95574"/>
                  </a:cubicBezTo>
                  <a:cubicBezTo>
                    <a:pt x="654758" y="152238"/>
                    <a:pt x="683533" y="227457"/>
                    <a:pt x="683533" y="321107"/>
                  </a:cubicBezTo>
                  <a:cubicBezTo>
                    <a:pt x="683543" y="349910"/>
                    <a:pt x="680085" y="376438"/>
                    <a:pt x="673275" y="400641"/>
                  </a:cubicBezTo>
                  <a:close/>
                  <a:moveTo>
                    <a:pt x="357597" y="116938"/>
                  </a:moveTo>
                  <a:cubicBezTo>
                    <a:pt x="299514" y="116938"/>
                    <a:pt x="250822" y="135674"/>
                    <a:pt x="211512" y="173050"/>
                  </a:cubicBezTo>
                  <a:cubicBezTo>
                    <a:pt x="174003" y="208636"/>
                    <a:pt x="152695" y="252879"/>
                    <a:pt x="147704" y="305810"/>
                  </a:cubicBezTo>
                  <a:lnTo>
                    <a:pt x="554422" y="305810"/>
                  </a:lnTo>
                  <a:cubicBezTo>
                    <a:pt x="554422" y="253375"/>
                    <a:pt x="537953" y="209588"/>
                    <a:pt x="505054" y="174450"/>
                  </a:cubicBezTo>
                  <a:cubicBezTo>
                    <a:pt x="468935" y="136103"/>
                    <a:pt x="419738" y="116938"/>
                    <a:pt x="357597" y="116938"/>
                  </a:cubicBezTo>
                  <a:close/>
                </a:path>
              </a:pathLst>
            </a:custGeom>
            <a:solidFill>
              <a:srgbClr val="289B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A05312BB-6D00-4A33-8DCC-A0CFD12D9B7A}"/>
                </a:ext>
              </a:extLst>
            </p:cNvPr>
            <p:cNvSpPr/>
            <p:nvPr/>
          </p:nvSpPr>
          <p:spPr>
            <a:xfrm>
              <a:off x="3259963" y="1950365"/>
              <a:ext cx="266700" cy="1057275"/>
            </a:xfrm>
            <a:custGeom>
              <a:avLst/>
              <a:gdLst>
                <a:gd name="connsiteX0" fmla="*/ 7144 w 266700"/>
                <a:gd name="connsiteY0" fmla="*/ 833847 h 1057275"/>
                <a:gd name="connsiteX1" fmla="*/ 7144 w 266700"/>
                <a:gd name="connsiteY1" fmla="*/ 7144 h 1057275"/>
                <a:gd name="connsiteX2" fmla="*/ 137160 w 266700"/>
                <a:gd name="connsiteY2" fmla="*/ 7144 h 1057275"/>
                <a:gd name="connsiteX3" fmla="*/ 137160 w 266700"/>
                <a:gd name="connsiteY3" fmla="*/ 811578 h 1057275"/>
                <a:gd name="connsiteX4" fmla="*/ 171136 w 266700"/>
                <a:gd name="connsiteY4" fmla="*/ 904389 h 1057275"/>
                <a:gd name="connsiteX5" fmla="*/ 260137 w 266700"/>
                <a:gd name="connsiteY5" fmla="*/ 938251 h 1057275"/>
                <a:gd name="connsiteX6" fmla="*/ 260137 w 266700"/>
                <a:gd name="connsiteY6" fmla="*/ 1055103 h 1057275"/>
                <a:gd name="connsiteX7" fmla="*/ 7144 w 266700"/>
                <a:gd name="connsiteY7" fmla="*/ 833847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6700" h="1057275">
                  <a:moveTo>
                    <a:pt x="7144" y="833847"/>
                  </a:moveTo>
                  <a:lnTo>
                    <a:pt x="7144" y="7144"/>
                  </a:lnTo>
                  <a:lnTo>
                    <a:pt x="137160" y="7144"/>
                  </a:lnTo>
                  <a:lnTo>
                    <a:pt x="137160" y="811578"/>
                  </a:lnTo>
                  <a:cubicBezTo>
                    <a:pt x="137160" y="850868"/>
                    <a:pt x="148523" y="881767"/>
                    <a:pt x="171136" y="904389"/>
                  </a:cubicBezTo>
                  <a:cubicBezTo>
                    <a:pt x="193872" y="926954"/>
                    <a:pt x="223514" y="938251"/>
                    <a:pt x="260137" y="938251"/>
                  </a:cubicBezTo>
                  <a:lnTo>
                    <a:pt x="260137" y="1055103"/>
                  </a:lnTo>
                  <a:cubicBezTo>
                    <a:pt x="91469" y="1055103"/>
                    <a:pt x="7144" y="981370"/>
                    <a:pt x="7144" y="833847"/>
                  </a:cubicBezTo>
                  <a:close/>
                </a:path>
              </a:pathLst>
            </a:custGeom>
            <a:solidFill>
              <a:srgbClr val="00A3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D8C294E5-A588-4C96-BAA1-B184FBEDD217}"/>
                </a:ext>
              </a:extLst>
            </p:cNvPr>
            <p:cNvSpPr/>
            <p:nvPr/>
          </p:nvSpPr>
          <p:spPr>
            <a:xfrm>
              <a:off x="3615674" y="2236734"/>
              <a:ext cx="685800" cy="771525"/>
            </a:xfrm>
            <a:custGeom>
              <a:avLst/>
              <a:gdLst>
                <a:gd name="connsiteX0" fmla="*/ 673246 w 685800"/>
                <a:gd name="connsiteY0" fmla="*/ 400641 h 771525"/>
                <a:gd name="connsiteX1" fmla="*/ 144161 w 685800"/>
                <a:gd name="connsiteY1" fmla="*/ 400641 h 771525"/>
                <a:gd name="connsiteX2" fmla="*/ 214827 w 685800"/>
                <a:gd name="connsiteY2" fmla="*/ 598637 h 771525"/>
                <a:gd name="connsiteX3" fmla="*/ 375361 w 685800"/>
                <a:gd name="connsiteY3" fmla="*/ 658911 h 771525"/>
                <a:gd name="connsiteX4" fmla="*/ 561899 w 685800"/>
                <a:gd name="connsiteY4" fmla="*/ 593931 h 771525"/>
                <a:gd name="connsiteX5" fmla="*/ 616744 w 685800"/>
                <a:gd name="connsiteY5" fmla="*/ 687896 h 771525"/>
                <a:gd name="connsiteX6" fmla="*/ 524199 w 685800"/>
                <a:gd name="connsiteY6" fmla="*/ 739950 h 771525"/>
                <a:gd name="connsiteX7" fmla="*/ 350044 w 685800"/>
                <a:gd name="connsiteY7" fmla="*/ 768725 h 771525"/>
                <a:gd name="connsiteX8" fmla="*/ 114862 w 685800"/>
                <a:gd name="connsiteY8" fmla="*/ 674780 h 771525"/>
                <a:gd name="connsiteX9" fmla="*/ 7144 w 685800"/>
                <a:gd name="connsiteY9" fmla="*/ 396469 h 771525"/>
                <a:gd name="connsiteX10" fmla="*/ 117481 w 685800"/>
                <a:gd name="connsiteY10" fmla="*/ 105118 h 771525"/>
                <a:gd name="connsiteX11" fmla="*/ 351120 w 685800"/>
                <a:gd name="connsiteY11" fmla="*/ 7144 h 771525"/>
                <a:gd name="connsiteX12" fmla="*/ 597218 w 685800"/>
                <a:gd name="connsiteY12" fmla="*/ 95574 h 771525"/>
                <a:gd name="connsiteX13" fmla="*/ 683514 w 685800"/>
                <a:gd name="connsiteY13" fmla="*/ 321107 h 771525"/>
                <a:gd name="connsiteX14" fmla="*/ 673246 w 685800"/>
                <a:gd name="connsiteY14" fmla="*/ 400641 h 771525"/>
                <a:gd name="connsiteX15" fmla="*/ 357569 w 685800"/>
                <a:gd name="connsiteY15" fmla="*/ 116938 h 771525"/>
                <a:gd name="connsiteX16" fmla="*/ 211484 w 685800"/>
                <a:gd name="connsiteY16" fmla="*/ 173050 h 771525"/>
                <a:gd name="connsiteX17" fmla="*/ 147695 w 685800"/>
                <a:gd name="connsiteY17" fmla="*/ 305810 h 771525"/>
                <a:gd name="connsiteX18" fmla="*/ 554393 w 685800"/>
                <a:gd name="connsiteY18" fmla="*/ 305810 h 771525"/>
                <a:gd name="connsiteX19" fmla="*/ 505044 w 685800"/>
                <a:gd name="connsiteY19" fmla="*/ 174450 h 771525"/>
                <a:gd name="connsiteX20" fmla="*/ 357569 w 685800"/>
                <a:gd name="connsiteY20" fmla="*/ 116938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85800" h="771525">
                  <a:moveTo>
                    <a:pt x="673246" y="400641"/>
                  </a:moveTo>
                  <a:lnTo>
                    <a:pt x="144161" y="400641"/>
                  </a:lnTo>
                  <a:cubicBezTo>
                    <a:pt x="144161" y="486518"/>
                    <a:pt x="167716" y="552488"/>
                    <a:pt x="214827" y="598637"/>
                  </a:cubicBezTo>
                  <a:cubicBezTo>
                    <a:pt x="256442" y="638842"/>
                    <a:pt x="309982" y="658911"/>
                    <a:pt x="375361" y="658911"/>
                  </a:cubicBezTo>
                  <a:cubicBezTo>
                    <a:pt x="449847" y="658911"/>
                    <a:pt x="512055" y="637223"/>
                    <a:pt x="561899" y="593931"/>
                  </a:cubicBezTo>
                  <a:lnTo>
                    <a:pt x="616744" y="687896"/>
                  </a:lnTo>
                  <a:cubicBezTo>
                    <a:pt x="596656" y="707993"/>
                    <a:pt x="565804" y="725367"/>
                    <a:pt x="524199" y="739950"/>
                  </a:cubicBezTo>
                  <a:cubicBezTo>
                    <a:pt x="472078" y="759114"/>
                    <a:pt x="414071" y="768725"/>
                    <a:pt x="350044" y="768725"/>
                  </a:cubicBezTo>
                  <a:cubicBezTo>
                    <a:pt x="257718" y="768725"/>
                    <a:pt x="179299" y="737416"/>
                    <a:pt x="114862" y="674780"/>
                  </a:cubicBezTo>
                  <a:cubicBezTo>
                    <a:pt x="43043" y="605828"/>
                    <a:pt x="7144" y="513055"/>
                    <a:pt x="7144" y="396469"/>
                  </a:cubicBezTo>
                  <a:cubicBezTo>
                    <a:pt x="7144" y="275368"/>
                    <a:pt x="43910" y="178241"/>
                    <a:pt x="117481" y="105118"/>
                  </a:cubicBezTo>
                  <a:cubicBezTo>
                    <a:pt x="183261" y="39786"/>
                    <a:pt x="261147" y="7144"/>
                    <a:pt x="351120" y="7144"/>
                  </a:cubicBezTo>
                  <a:cubicBezTo>
                    <a:pt x="455790" y="7144"/>
                    <a:pt x="537791" y="36614"/>
                    <a:pt x="597218" y="95574"/>
                  </a:cubicBezTo>
                  <a:cubicBezTo>
                    <a:pt x="654739" y="152238"/>
                    <a:pt x="683514" y="227457"/>
                    <a:pt x="683514" y="321107"/>
                  </a:cubicBezTo>
                  <a:cubicBezTo>
                    <a:pt x="683524" y="349910"/>
                    <a:pt x="680104" y="376438"/>
                    <a:pt x="673246" y="400641"/>
                  </a:cubicBezTo>
                  <a:close/>
                  <a:moveTo>
                    <a:pt x="357569" y="116938"/>
                  </a:moveTo>
                  <a:cubicBezTo>
                    <a:pt x="299533" y="116938"/>
                    <a:pt x="250784" y="135674"/>
                    <a:pt x="211484" y="173050"/>
                  </a:cubicBezTo>
                  <a:cubicBezTo>
                    <a:pt x="173993" y="208636"/>
                    <a:pt x="152733" y="252879"/>
                    <a:pt x="147695" y="305810"/>
                  </a:cubicBezTo>
                  <a:lnTo>
                    <a:pt x="554393" y="305810"/>
                  </a:lnTo>
                  <a:cubicBezTo>
                    <a:pt x="554393" y="253375"/>
                    <a:pt x="537924" y="209588"/>
                    <a:pt x="505044" y="174450"/>
                  </a:cubicBezTo>
                  <a:cubicBezTo>
                    <a:pt x="468906" y="136103"/>
                    <a:pt x="419786" y="116938"/>
                    <a:pt x="357569" y="116938"/>
                  </a:cubicBezTo>
                  <a:close/>
                </a:path>
              </a:pathLst>
            </a:custGeom>
            <a:solidFill>
              <a:srgbClr val="289B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E0AC33C0-F4DB-4ACB-8C93-7639BB156C72}"/>
                </a:ext>
              </a:extLst>
            </p:cNvPr>
            <p:cNvSpPr/>
            <p:nvPr/>
          </p:nvSpPr>
          <p:spPr>
            <a:xfrm>
              <a:off x="4343860" y="2249040"/>
              <a:ext cx="676275" cy="762000"/>
            </a:xfrm>
            <a:custGeom>
              <a:avLst/>
              <a:gdLst>
                <a:gd name="connsiteX0" fmla="*/ 355873 w 676275"/>
                <a:gd name="connsiteY0" fmla="*/ 756428 h 762000"/>
                <a:gd name="connsiteX1" fmla="*/ 321631 w 676275"/>
                <a:gd name="connsiteY1" fmla="*/ 756428 h 762000"/>
                <a:gd name="connsiteX2" fmla="*/ 7144 w 676275"/>
                <a:gd name="connsiteY2" fmla="*/ 7144 h 762000"/>
                <a:gd name="connsiteX3" fmla="*/ 149447 w 676275"/>
                <a:gd name="connsiteY3" fmla="*/ 7144 h 762000"/>
                <a:gd name="connsiteX4" fmla="*/ 343586 w 676275"/>
                <a:gd name="connsiteY4" fmla="*/ 521017 h 762000"/>
                <a:gd name="connsiteX5" fmla="*/ 542115 w 676275"/>
                <a:gd name="connsiteY5" fmla="*/ 7144 h 762000"/>
                <a:gd name="connsiteX6" fmla="*/ 678266 w 676275"/>
                <a:gd name="connsiteY6" fmla="*/ 7144 h 762000"/>
                <a:gd name="connsiteX7" fmla="*/ 355873 w 676275"/>
                <a:gd name="connsiteY7" fmla="*/ 756428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6275" h="762000">
                  <a:moveTo>
                    <a:pt x="355873" y="756428"/>
                  </a:moveTo>
                  <a:lnTo>
                    <a:pt x="321631" y="756428"/>
                  </a:lnTo>
                  <a:lnTo>
                    <a:pt x="7144" y="7144"/>
                  </a:lnTo>
                  <a:lnTo>
                    <a:pt x="149447" y="7144"/>
                  </a:lnTo>
                  <a:lnTo>
                    <a:pt x="343586" y="521017"/>
                  </a:lnTo>
                  <a:lnTo>
                    <a:pt x="542115" y="7144"/>
                  </a:lnTo>
                  <a:lnTo>
                    <a:pt x="678266" y="7144"/>
                  </a:lnTo>
                  <a:lnTo>
                    <a:pt x="355873" y="756428"/>
                  </a:lnTo>
                  <a:close/>
                </a:path>
              </a:pathLst>
            </a:custGeom>
            <a:solidFill>
              <a:srgbClr val="289B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514F0AD8-B1B4-4C2C-9407-C2CCF225A435}"/>
                </a:ext>
              </a:extLst>
            </p:cNvPr>
            <p:cNvSpPr/>
            <p:nvPr/>
          </p:nvSpPr>
          <p:spPr>
            <a:xfrm>
              <a:off x="5067808" y="2236734"/>
              <a:ext cx="685800" cy="771525"/>
            </a:xfrm>
            <a:custGeom>
              <a:avLst/>
              <a:gdLst>
                <a:gd name="connsiteX0" fmla="*/ 673227 w 685800"/>
                <a:gd name="connsiteY0" fmla="*/ 400641 h 771525"/>
                <a:gd name="connsiteX1" fmla="*/ 144151 w 685800"/>
                <a:gd name="connsiteY1" fmla="*/ 400641 h 771525"/>
                <a:gd name="connsiteX2" fmla="*/ 214827 w 685800"/>
                <a:gd name="connsiteY2" fmla="*/ 598637 h 771525"/>
                <a:gd name="connsiteX3" fmla="*/ 375295 w 685800"/>
                <a:gd name="connsiteY3" fmla="*/ 658911 h 771525"/>
                <a:gd name="connsiteX4" fmla="*/ 561832 w 685800"/>
                <a:gd name="connsiteY4" fmla="*/ 593931 h 771525"/>
                <a:gd name="connsiteX5" fmla="*/ 616791 w 685800"/>
                <a:gd name="connsiteY5" fmla="*/ 687896 h 771525"/>
                <a:gd name="connsiteX6" fmla="*/ 524208 w 685800"/>
                <a:gd name="connsiteY6" fmla="*/ 739950 h 771525"/>
                <a:gd name="connsiteX7" fmla="*/ 349996 w 685800"/>
                <a:gd name="connsiteY7" fmla="*/ 768725 h 771525"/>
                <a:gd name="connsiteX8" fmla="*/ 114805 w 685800"/>
                <a:gd name="connsiteY8" fmla="*/ 674780 h 771525"/>
                <a:gd name="connsiteX9" fmla="*/ 7144 w 685800"/>
                <a:gd name="connsiteY9" fmla="*/ 396469 h 771525"/>
                <a:gd name="connsiteX10" fmla="*/ 117491 w 685800"/>
                <a:gd name="connsiteY10" fmla="*/ 105118 h 771525"/>
                <a:gd name="connsiteX11" fmla="*/ 351158 w 685800"/>
                <a:gd name="connsiteY11" fmla="*/ 7144 h 771525"/>
                <a:gd name="connsiteX12" fmla="*/ 597180 w 685800"/>
                <a:gd name="connsiteY12" fmla="*/ 95574 h 771525"/>
                <a:gd name="connsiteX13" fmla="*/ 683514 w 685800"/>
                <a:gd name="connsiteY13" fmla="*/ 321107 h 771525"/>
                <a:gd name="connsiteX14" fmla="*/ 673227 w 685800"/>
                <a:gd name="connsiteY14" fmla="*/ 400641 h 771525"/>
                <a:gd name="connsiteX15" fmla="*/ 357559 w 685800"/>
                <a:gd name="connsiteY15" fmla="*/ 116938 h 771525"/>
                <a:gd name="connsiteX16" fmla="*/ 211474 w 685800"/>
                <a:gd name="connsiteY16" fmla="*/ 173050 h 771525"/>
                <a:gd name="connsiteX17" fmla="*/ 147695 w 685800"/>
                <a:gd name="connsiteY17" fmla="*/ 305810 h 771525"/>
                <a:gd name="connsiteX18" fmla="*/ 554364 w 685800"/>
                <a:gd name="connsiteY18" fmla="*/ 305810 h 771525"/>
                <a:gd name="connsiteX19" fmla="*/ 504968 w 685800"/>
                <a:gd name="connsiteY19" fmla="*/ 174450 h 771525"/>
                <a:gd name="connsiteX20" fmla="*/ 357559 w 685800"/>
                <a:gd name="connsiteY20" fmla="*/ 116938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85800" h="771525">
                  <a:moveTo>
                    <a:pt x="673227" y="400641"/>
                  </a:moveTo>
                  <a:lnTo>
                    <a:pt x="144151" y="400641"/>
                  </a:lnTo>
                  <a:cubicBezTo>
                    <a:pt x="144151" y="486518"/>
                    <a:pt x="167726" y="552488"/>
                    <a:pt x="214827" y="598637"/>
                  </a:cubicBezTo>
                  <a:cubicBezTo>
                    <a:pt x="256422" y="638842"/>
                    <a:pt x="309915" y="658911"/>
                    <a:pt x="375295" y="658911"/>
                  </a:cubicBezTo>
                  <a:cubicBezTo>
                    <a:pt x="449875" y="658911"/>
                    <a:pt x="512026" y="637223"/>
                    <a:pt x="561832" y="593931"/>
                  </a:cubicBezTo>
                  <a:lnTo>
                    <a:pt x="616791" y="687896"/>
                  </a:lnTo>
                  <a:cubicBezTo>
                    <a:pt x="596665" y="707993"/>
                    <a:pt x="565795" y="725367"/>
                    <a:pt x="524208" y="739950"/>
                  </a:cubicBezTo>
                  <a:cubicBezTo>
                    <a:pt x="472031" y="759114"/>
                    <a:pt x="414023" y="768725"/>
                    <a:pt x="349996" y="768725"/>
                  </a:cubicBezTo>
                  <a:cubicBezTo>
                    <a:pt x="257642" y="768725"/>
                    <a:pt x="179241" y="737416"/>
                    <a:pt x="114805" y="674780"/>
                  </a:cubicBezTo>
                  <a:cubicBezTo>
                    <a:pt x="43053" y="605828"/>
                    <a:pt x="7144" y="513055"/>
                    <a:pt x="7144" y="396469"/>
                  </a:cubicBezTo>
                  <a:cubicBezTo>
                    <a:pt x="7144" y="275368"/>
                    <a:pt x="43920" y="178241"/>
                    <a:pt x="117491" y="105118"/>
                  </a:cubicBezTo>
                  <a:cubicBezTo>
                    <a:pt x="183261" y="39786"/>
                    <a:pt x="261118" y="7144"/>
                    <a:pt x="351158" y="7144"/>
                  </a:cubicBezTo>
                  <a:cubicBezTo>
                    <a:pt x="455790" y="7144"/>
                    <a:pt x="537763" y="36614"/>
                    <a:pt x="597180" y="95574"/>
                  </a:cubicBezTo>
                  <a:cubicBezTo>
                    <a:pt x="654739" y="152238"/>
                    <a:pt x="683514" y="227457"/>
                    <a:pt x="683514" y="321107"/>
                  </a:cubicBezTo>
                  <a:cubicBezTo>
                    <a:pt x="683514" y="349910"/>
                    <a:pt x="680113" y="376438"/>
                    <a:pt x="673227" y="400641"/>
                  </a:cubicBezTo>
                  <a:close/>
                  <a:moveTo>
                    <a:pt x="357559" y="116938"/>
                  </a:moveTo>
                  <a:cubicBezTo>
                    <a:pt x="299495" y="116938"/>
                    <a:pt x="250774" y="135674"/>
                    <a:pt x="211474" y="173050"/>
                  </a:cubicBezTo>
                  <a:cubicBezTo>
                    <a:pt x="173984" y="208636"/>
                    <a:pt x="152733" y="252879"/>
                    <a:pt x="147695" y="305810"/>
                  </a:cubicBezTo>
                  <a:lnTo>
                    <a:pt x="554364" y="305810"/>
                  </a:lnTo>
                  <a:cubicBezTo>
                    <a:pt x="554364" y="253375"/>
                    <a:pt x="537915" y="209588"/>
                    <a:pt x="504968" y="174450"/>
                  </a:cubicBezTo>
                  <a:cubicBezTo>
                    <a:pt x="468849" y="136103"/>
                    <a:pt x="419710" y="116938"/>
                    <a:pt x="357559" y="116938"/>
                  </a:cubicBezTo>
                  <a:close/>
                </a:path>
              </a:pathLst>
            </a:custGeom>
            <a:solidFill>
              <a:srgbClr val="289B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12C0952D-99F4-482C-ACA6-6EC2658765FE}"/>
                </a:ext>
              </a:extLst>
            </p:cNvPr>
            <p:cNvSpPr/>
            <p:nvPr/>
          </p:nvSpPr>
          <p:spPr>
            <a:xfrm>
              <a:off x="5880319" y="2236743"/>
              <a:ext cx="590550" cy="752475"/>
            </a:xfrm>
            <a:custGeom>
              <a:avLst/>
              <a:gdLst>
                <a:gd name="connsiteX0" fmla="*/ 458667 w 590550"/>
                <a:gd name="connsiteY0" fmla="*/ 754666 h 752475"/>
                <a:gd name="connsiteX1" fmla="*/ 458667 w 590550"/>
                <a:gd name="connsiteY1" fmla="*/ 327908 h 752475"/>
                <a:gd name="connsiteX2" fmla="*/ 423386 w 590550"/>
                <a:gd name="connsiteY2" fmla="*/ 163859 h 752475"/>
                <a:gd name="connsiteX3" fmla="*/ 305105 w 590550"/>
                <a:gd name="connsiteY3" fmla="*/ 116919 h 752475"/>
                <a:gd name="connsiteX4" fmla="*/ 211874 w 590550"/>
                <a:gd name="connsiteY4" fmla="*/ 143675 h 752475"/>
                <a:gd name="connsiteX5" fmla="*/ 137170 w 590550"/>
                <a:gd name="connsiteY5" fmla="*/ 209417 h 752475"/>
                <a:gd name="connsiteX6" fmla="*/ 137170 w 590550"/>
                <a:gd name="connsiteY6" fmla="*/ 754656 h 752475"/>
                <a:gd name="connsiteX7" fmla="*/ 7144 w 590550"/>
                <a:gd name="connsiteY7" fmla="*/ 754656 h 752475"/>
                <a:gd name="connsiteX8" fmla="*/ 7144 w 590550"/>
                <a:gd name="connsiteY8" fmla="*/ 21193 h 752475"/>
                <a:gd name="connsiteX9" fmla="*/ 96231 w 590550"/>
                <a:gd name="connsiteY9" fmla="*/ 21193 h 752475"/>
                <a:gd name="connsiteX10" fmla="*/ 137284 w 590550"/>
                <a:gd name="connsiteY10" fmla="*/ 115719 h 752475"/>
                <a:gd name="connsiteX11" fmla="*/ 347529 w 590550"/>
                <a:gd name="connsiteY11" fmla="*/ 7144 h 752475"/>
                <a:gd name="connsiteX12" fmla="*/ 588673 w 590550"/>
                <a:gd name="connsiteY12" fmla="*/ 300352 h 752475"/>
                <a:gd name="connsiteX13" fmla="*/ 588673 w 590550"/>
                <a:gd name="connsiteY13" fmla="*/ 754666 h 752475"/>
                <a:gd name="connsiteX14" fmla="*/ 458667 w 590550"/>
                <a:gd name="connsiteY14" fmla="*/ 754666 h 752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90550" h="752475">
                  <a:moveTo>
                    <a:pt x="458667" y="754666"/>
                  </a:moveTo>
                  <a:lnTo>
                    <a:pt x="458667" y="327908"/>
                  </a:lnTo>
                  <a:cubicBezTo>
                    <a:pt x="458667" y="249831"/>
                    <a:pt x="446922" y="195148"/>
                    <a:pt x="423386" y="163859"/>
                  </a:cubicBezTo>
                  <a:cubicBezTo>
                    <a:pt x="399812" y="132559"/>
                    <a:pt x="360378" y="116919"/>
                    <a:pt x="305105" y="116919"/>
                  </a:cubicBezTo>
                  <a:cubicBezTo>
                    <a:pt x="275415" y="116919"/>
                    <a:pt x="244335" y="125835"/>
                    <a:pt x="211874" y="143675"/>
                  </a:cubicBezTo>
                  <a:cubicBezTo>
                    <a:pt x="179432" y="161439"/>
                    <a:pt x="154496" y="183413"/>
                    <a:pt x="137170" y="209417"/>
                  </a:cubicBezTo>
                  <a:lnTo>
                    <a:pt x="137170" y="754656"/>
                  </a:lnTo>
                  <a:lnTo>
                    <a:pt x="7144" y="754656"/>
                  </a:lnTo>
                  <a:lnTo>
                    <a:pt x="7144" y="21193"/>
                  </a:lnTo>
                  <a:lnTo>
                    <a:pt x="96231" y="21193"/>
                  </a:lnTo>
                  <a:lnTo>
                    <a:pt x="137284" y="115719"/>
                  </a:lnTo>
                  <a:cubicBezTo>
                    <a:pt x="180222" y="43282"/>
                    <a:pt x="250317" y="7144"/>
                    <a:pt x="347529" y="7144"/>
                  </a:cubicBezTo>
                  <a:cubicBezTo>
                    <a:pt x="508302" y="7144"/>
                    <a:pt x="588673" y="104918"/>
                    <a:pt x="588673" y="300352"/>
                  </a:cubicBezTo>
                  <a:lnTo>
                    <a:pt x="588673" y="754666"/>
                  </a:lnTo>
                  <a:lnTo>
                    <a:pt x="458667" y="754666"/>
                  </a:lnTo>
                  <a:close/>
                </a:path>
              </a:pathLst>
            </a:custGeom>
            <a:solidFill>
              <a:srgbClr val="289B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A516946E-2603-401C-8B73-70E873D19B86}"/>
                </a:ext>
              </a:extLst>
            </p:cNvPr>
            <p:cNvSpPr/>
            <p:nvPr/>
          </p:nvSpPr>
          <p:spPr>
            <a:xfrm>
              <a:off x="2436869" y="3603895"/>
              <a:ext cx="114300" cy="190500"/>
            </a:xfrm>
            <a:custGeom>
              <a:avLst/>
              <a:gdLst>
                <a:gd name="connsiteX0" fmla="*/ 7144 w 114300"/>
                <a:gd name="connsiteY0" fmla="*/ 184299 h 190500"/>
                <a:gd name="connsiteX1" fmla="*/ 7144 w 114300"/>
                <a:gd name="connsiteY1" fmla="*/ 7144 h 190500"/>
                <a:gd name="connsiteX2" fmla="*/ 31556 w 114300"/>
                <a:gd name="connsiteY2" fmla="*/ 7144 h 190500"/>
                <a:gd name="connsiteX3" fmla="*/ 31556 w 114300"/>
                <a:gd name="connsiteY3" fmla="*/ 162525 h 190500"/>
                <a:gd name="connsiteX4" fmla="*/ 112376 w 114300"/>
                <a:gd name="connsiteY4" fmla="*/ 162525 h 190500"/>
                <a:gd name="connsiteX5" fmla="*/ 112376 w 114300"/>
                <a:gd name="connsiteY5" fmla="*/ 184290 h 190500"/>
                <a:gd name="connsiteX6" fmla="*/ 7144 w 114300"/>
                <a:gd name="connsiteY6" fmla="*/ 18429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300" h="190500">
                  <a:moveTo>
                    <a:pt x="7144" y="184299"/>
                  </a:moveTo>
                  <a:lnTo>
                    <a:pt x="7144" y="7144"/>
                  </a:lnTo>
                  <a:lnTo>
                    <a:pt x="31556" y="7144"/>
                  </a:lnTo>
                  <a:lnTo>
                    <a:pt x="31556" y="162525"/>
                  </a:lnTo>
                  <a:lnTo>
                    <a:pt x="112376" y="162525"/>
                  </a:lnTo>
                  <a:lnTo>
                    <a:pt x="112376" y="184290"/>
                  </a:lnTo>
                  <a:lnTo>
                    <a:pt x="7144" y="184290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FFC47E35-3B12-42EE-9400-EFD02A9433AA}"/>
                </a:ext>
              </a:extLst>
            </p:cNvPr>
            <p:cNvSpPr/>
            <p:nvPr/>
          </p:nvSpPr>
          <p:spPr>
            <a:xfrm>
              <a:off x="2620597" y="3649120"/>
              <a:ext cx="123825" cy="142875"/>
            </a:xfrm>
            <a:custGeom>
              <a:avLst/>
              <a:gdLst>
                <a:gd name="connsiteX0" fmla="*/ 7144 w 123825"/>
                <a:gd name="connsiteY0" fmla="*/ 74019 h 142875"/>
                <a:gd name="connsiteX1" fmla="*/ 23441 w 123825"/>
                <a:gd name="connsiteY1" fmla="*/ 25584 h 142875"/>
                <a:gd name="connsiteX2" fmla="*/ 66351 w 123825"/>
                <a:gd name="connsiteY2" fmla="*/ 7144 h 142875"/>
                <a:gd name="connsiteX3" fmla="*/ 109938 w 123825"/>
                <a:gd name="connsiteY3" fmla="*/ 24851 h 142875"/>
                <a:gd name="connsiteX4" fmla="*/ 125444 w 123825"/>
                <a:gd name="connsiteY4" fmla="*/ 74009 h 142875"/>
                <a:gd name="connsiteX5" fmla="*/ 109576 w 123825"/>
                <a:gd name="connsiteY5" fmla="*/ 123415 h 142875"/>
                <a:gd name="connsiteX6" fmla="*/ 66361 w 123825"/>
                <a:gd name="connsiteY6" fmla="*/ 141484 h 142875"/>
                <a:gd name="connsiteX7" fmla="*/ 22774 w 123825"/>
                <a:gd name="connsiteY7" fmla="*/ 123225 h 142875"/>
                <a:gd name="connsiteX8" fmla="*/ 7144 w 123825"/>
                <a:gd name="connsiteY8" fmla="*/ 74019 h 142875"/>
                <a:gd name="connsiteX9" fmla="*/ 31566 w 123825"/>
                <a:gd name="connsiteY9" fmla="*/ 74019 h 142875"/>
                <a:gd name="connsiteX10" fmla="*/ 66361 w 123825"/>
                <a:gd name="connsiteY10" fmla="*/ 122749 h 142875"/>
                <a:gd name="connsiteX11" fmla="*/ 91811 w 123825"/>
                <a:gd name="connsiteY11" fmla="*/ 109690 h 142875"/>
                <a:gd name="connsiteX12" fmla="*/ 101032 w 123825"/>
                <a:gd name="connsiteY12" fmla="*/ 74019 h 142875"/>
                <a:gd name="connsiteX13" fmla="*/ 66361 w 123825"/>
                <a:gd name="connsiteY13" fmla="*/ 25889 h 142875"/>
                <a:gd name="connsiteX14" fmla="*/ 41024 w 123825"/>
                <a:gd name="connsiteY14" fmla="*/ 38710 h 142875"/>
                <a:gd name="connsiteX15" fmla="*/ 31566 w 123825"/>
                <a:gd name="connsiteY15" fmla="*/ 74019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825" h="142875">
                  <a:moveTo>
                    <a:pt x="7144" y="74019"/>
                  </a:moveTo>
                  <a:cubicBezTo>
                    <a:pt x="7144" y="54026"/>
                    <a:pt x="12573" y="37881"/>
                    <a:pt x="23441" y="25584"/>
                  </a:cubicBezTo>
                  <a:cubicBezTo>
                    <a:pt x="34309" y="13297"/>
                    <a:pt x="48606" y="7144"/>
                    <a:pt x="66351" y="7144"/>
                  </a:cubicBezTo>
                  <a:cubicBezTo>
                    <a:pt x="85068" y="7144"/>
                    <a:pt x="99603" y="13049"/>
                    <a:pt x="109938" y="24851"/>
                  </a:cubicBezTo>
                  <a:cubicBezTo>
                    <a:pt x="120272" y="36662"/>
                    <a:pt x="125444" y="53054"/>
                    <a:pt x="125444" y="74009"/>
                  </a:cubicBezTo>
                  <a:cubicBezTo>
                    <a:pt x="125444" y="94888"/>
                    <a:pt x="120148" y="111357"/>
                    <a:pt x="109576" y="123415"/>
                  </a:cubicBezTo>
                  <a:cubicBezTo>
                    <a:pt x="98993" y="135465"/>
                    <a:pt x="84592" y="141484"/>
                    <a:pt x="66361" y="141484"/>
                  </a:cubicBezTo>
                  <a:cubicBezTo>
                    <a:pt x="47720" y="141484"/>
                    <a:pt x="33195" y="135388"/>
                    <a:pt x="22774" y="123225"/>
                  </a:cubicBezTo>
                  <a:cubicBezTo>
                    <a:pt x="12354" y="111061"/>
                    <a:pt x="7144" y="94659"/>
                    <a:pt x="7144" y="74019"/>
                  </a:cubicBezTo>
                  <a:close/>
                  <a:moveTo>
                    <a:pt x="31566" y="74019"/>
                  </a:moveTo>
                  <a:cubicBezTo>
                    <a:pt x="31566" y="106508"/>
                    <a:pt x="43167" y="122749"/>
                    <a:pt x="66361" y="122749"/>
                  </a:cubicBezTo>
                  <a:cubicBezTo>
                    <a:pt x="77181" y="122749"/>
                    <a:pt x="85668" y="118396"/>
                    <a:pt x="91811" y="109690"/>
                  </a:cubicBezTo>
                  <a:cubicBezTo>
                    <a:pt x="97955" y="100984"/>
                    <a:pt x="101032" y="89097"/>
                    <a:pt x="101032" y="74019"/>
                  </a:cubicBezTo>
                  <a:cubicBezTo>
                    <a:pt x="101032" y="41939"/>
                    <a:pt x="89478" y="25889"/>
                    <a:pt x="66361" y="25889"/>
                  </a:cubicBezTo>
                  <a:cubicBezTo>
                    <a:pt x="55778" y="25889"/>
                    <a:pt x="47339" y="30156"/>
                    <a:pt x="41024" y="38710"/>
                  </a:cubicBezTo>
                  <a:cubicBezTo>
                    <a:pt x="34709" y="47263"/>
                    <a:pt x="31566" y="59017"/>
                    <a:pt x="31566" y="74019"/>
                  </a:cubicBez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A3CBEA83-BE2F-4A88-94E7-8737934851A9}"/>
                </a:ext>
              </a:extLst>
            </p:cNvPr>
            <p:cNvSpPr/>
            <p:nvPr/>
          </p:nvSpPr>
          <p:spPr>
            <a:xfrm>
              <a:off x="2830823" y="3649120"/>
              <a:ext cx="114300" cy="142875"/>
            </a:xfrm>
            <a:custGeom>
              <a:avLst/>
              <a:gdLst>
                <a:gd name="connsiteX0" fmla="*/ 87592 w 114300"/>
                <a:gd name="connsiteY0" fmla="*/ 139075 h 142875"/>
                <a:gd name="connsiteX1" fmla="*/ 87592 w 114300"/>
                <a:gd name="connsiteY1" fmla="*/ 63741 h 142875"/>
                <a:gd name="connsiteX2" fmla="*/ 81305 w 114300"/>
                <a:gd name="connsiteY2" fmla="*/ 34776 h 142875"/>
                <a:gd name="connsiteX3" fmla="*/ 60246 w 114300"/>
                <a:gd name="connsiteY3" fmla="*/ 26499 h 142875"/>
                <a:gd name="connsiteX4" fmla="*/ 43644 w 114300"/>
                <a:gd name="connsiteY4" fmla="*/ 31213 h 142875"/>
                <a:gd name="connsiteX5" fmla="*/ 30337 w 114300"/>
                <a:gd name="connsiteY5" fmla="*/ 42824 h 142875"/>
                <a:gd name="connsiteX6" fmla="*/ 30337 w 114300"/>
                <a:gd name="connsiteY6" fmla="*/ 139075 h 142875"/>
                <a:gd name="connsiteX7" fmla="*/ 7144 w 114300"/>
                <a:gd name="connsiteY7" fmla="*/ 139075 h 142875"/>
                <a:gd name="connsiteX8" fmla="*/ 7144 w 114300"/>
                <a:gd name="connsiteY8" fmla="*/ 9563 h 142875"/>
                <a:gd name="connsiteX9" fmla="*/ 23012 w 114300"/>
                <a:gd name="connsiteY9" fmla="*/ 9563 h 142875"/>
                <a:gd name="connsiteX10" fmla="*/ 30337 w 114300"/>
                <a:gd name="connsiteY10" fmla="*/ 26251 h 142875"/>
                <a:gd name="connsiteX11" fmla="*/ 67818 w 114300"/>
                <a:gd name="connsiteY11" fmla="*/ 7144 h 142875"/>
                <a:gd name="connsiteX12" fmla="*/ 110795 w 114300"/>
                <a:gd name="connsiteY12" fmla="*/ 58903 h 142875"/>
                <a:gd name="connsiteX13" fmla="*/ 110795 w 114300"/>
                <a:gd name="connsiteY13" fmla="*/ 139075 h 142875"/>
                <a:gd name="connsiteX14" fmla="*/ 87592 w 114300"/>
                <a:gd name="connsiteY14" fmla="*/ 13907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300" h="142875">
                  <a:moveTo>
                    <a:pt x="87592" y="139075"/>
                  </a:moveTo>
                  <a:lnTo>
                    <a:pt x="87592" y="63741"/>
                  </a:lnTo>
                  <a:cubicBezTo>
                    <a:pt x="87592" y="49959"/>
                    <a:pt x="85496" y="40300"/>
                    <a:pt x="81305" y="34776"/>
                  </a:cubicBezTo>
                  <a:cubicBezTo>
                    <a:pt x="77114" y="29261"/>
                    <a:pt x="70094" y="26499"/>
                    <a:pt x="60246" y="26499"/>
                  </a:cubicBezTo>
                  <a:cubicBezTo>
                    <a:pt x="54950" y="26499"/>
                    <a:pt x="49425" y="28070"/>
                    <a:pt x="43644" y="31213"/>
                  </a:cubicBezTo>
                  <a:cubicBezTo>
                    <a:pt x="37862" y="34357"/>
                    <a:pt x="33433" y="38224"/>
                    <a:pt x="30337" y="42824"/>
                  </a:cubicBezTo>
                  <a:lnTo>
                    <a:pt x="30337" y="139075"/>
                  </a:lnTo>
                  <a:lnTo>
                    <a:pt x="7144" y="139075"/>
                  </a:lnTo>
                  <a:lnTo>
                    <a:pt x="7144" y="9563"/>
                  </a:lnTo>
                  <a:lnTo>
                    <a:pt x="23012" y="9563"/>
                  </a:lnTo>
                  <a:lnTo>
                    <a:pt x="30337" y="26251"/>
                  </a:lnTo>
                  <a:cubicBezTo>
                    <a:pt x="37986" y="13506"/>
                    <a:pt x="50482" y="7144"/>
                    <a:pt x="67818" y="7144"/>
                  </a:cubicBezTo>
                  <a:cubicBezTo>
                    <a:pt x="96469" y="7144"/>
                    <a:pt x="110795" y="24393"/>
                    <a:pt x="110795" y="58903"/>
                  </a:cubicBezTo>
                  <a:lnTo>
                    <a:pt x="110795" y="139075"/>
                  </a:lnTo>
                  <a:lnTo>
                    <a:pt x="87592" y="139075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8E1FCF69-EBCE-4857-B83A-5AEC00B57F02}"/>
                </a:ext>
              </a:extLst>
            </p:cNvPr>
            <p:cNvSpPr/>
            <p:nvPr/>
          </p:nvSpPr>
          <p:spPr>
            <a:xfrm>
              <a:off x="3027619" y="3598447"/>
              <a:ext cx="123825" cy="190500"/>
            </a:xfrm>
            <a:custGeom>
              <a:avLst/>
              <a:gdLst>
                <a:gd name="connsiteX0" fmla="*/ 97355 w 123825"/>
                <a:gd name="connsiteY0" fmla="*/ 189624 h 190500"/>
                <a:gd name="connsiteX1" fmla="*/ 97355 w 123825"/>
                <a:gd name="connsiteY1" fmla="*/ 180070 h 190500"/>
                <a:gd name="connsiteX2" fmla="*/ 62198 w 123825"/>
                <a:gd name="connsiteY2" fmla="*/ 192043 h 190500"/>
                <a:gd name="connsiteX3" fmla="*/ 22403 w 123825"/>
                <a:gd name="connsiteY3" fmla="*/ 174631 h 190500"/>
                <a:gd name="connsiteX4" fmla="*/ 7144 w 123825"/>
                <a:gd name="connsiteY4" fmla="*/ 128197 h 190500"/>
                <a:gd name="connsiteX5" fmla="*/ 24727 w 123825"/>
                <a:gd name="connsiteY5" fmla="*/ 78429 h 190500"/>
                <a:gd name="connsiteX6" fmla="*/ 66599 w 123825"/>
                <a:gd name="connsiteY6" fmla="*/ 57817 h 190500"/>
                <a:gd name="connsiteX7" fmla="*/ 97365 w 123825"/>
                <a:gd name="connsiteY7" fmla="*/ 67246 h 190500"/>
                <a:gd name="connsiteX8" fmla="*/ 97365 w 123825"/>
                <a:gd name="connsiteY8" fmla="*/ 7144 h 190500"/>
                <a:gd name="connsiteX9" fmla="*/ 120558 w 123825"/>
                <a:gd name="connsiteY9" fmla="*/ 7144 h 190500"/>
                <a:gd name="connsiteX10" fmla="*/ 120558 w 123825"/>
                <a:gd name="connsiteY10" fmla="*/ 189614 h 190500"/>
                <a:gd name="connsiteX11" fmla="*/ 97355 w 123825"/>
                <a:gd name="connsiteY11" fmla="*/ 189614 h 190500"/>
                <a:gd name="connsiteX12" fmla="*/ 97355 w 123825"/>
                <a:gd name="connsiteY12" fmla="*/ 90230 h 190500"/>
                <a:gd name="connsiteX13" fmla="*/ 73304 w 123825"/>
                <a:gd name="connsiteY13" fmla="*/ 77172 h 190500"/>
                <a:gd name="connsiteX14" fmla="*/ 43091 w 123825"/>
                <a:gd name="connsiteY14" fmla="*/ 90954 h 190500"/>
                <a:gd name="connsiteX15" fmla="*/ 31556 w 123825"/>
                <a:gd name="connsiteY15" fmla="*/ 126025 h 190500"/>
                <a:gd name="connsiteX16" fmla="*/ 74533 w 123825"/>
                <a:gd name="connsiteY16" fmla="*/ 172822 h 190500"/>
                <a:gd name="connsiteX17" fmla="*/ 87716 w 123825"/>
                <a:gd name="connsiteY17" fmla="*/ 169374 h 190500"/>
                <a:gd name="connsiteX18" fmla="*/ 97365 w 123825"/>
                <a:gd name="connsiteY18" fmla="*/ 162058 h 190500"/>
                <a:gd name="connsiteX19" fmla="*/ 97365 w 123825"/>
                <a:gd name="connsiteY19" fmla="*/ 9023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825" h="190500">
                  <a:moveTo>
                    <a:pt x="97355" y="189624"/>
                  </a:moveTo>
                  <a:lnTo>
                    <a:pt x="97355" y="180070"/>
                  </a:lnTo>
                  <a:cubicBezTo>
                    <a:pt x="89297" y="188052"/>
                    <a:pt x="77581" y="192043"/>
                    <a:pt x="62198" y="192043"/>
                  </a:cubicBezTo>
                  <a:cubicBezTo>
                    <a:pt x="45844" y="192043"/>
                    <a:pt x="32575" y="186242"/>
                    <a:pt x="22403" y="174631"/>
                  </a:cubicBezTo>
                  <a:cubicBezTo>
                    <a:pt x="12230" y="163020"/>
                    <a:pt x="7144" y="147542"/>
                    <a:pt x="7144" y="128197"/>
                  </a:cubicBezTo>
                  <a:cubicBezTo>
                    <a:pt x="7144" y="108775"/>
                    <a:pt x="13002" y="92183"/>
                    <a:pt x="24727" y="78429"/>
                  </a:cubicBezTo>
                  <a:cubicBezTo>
                    <a:pt x="36443" y="64694"/>
                    <a:pt x="50406" y="57817"/>
                    <a:pt x="66599" y="57817"/>
                  </a:cubicBezTo>
                  <a:cubicBezTo>
                    <a:pt x="80105" y="57817"/>
                    <a:pt x="90364" y="60960"/>
                    <a:pt x="97365" y="67246"/>
                  </a:cubicBezTo>
                  <a:lnTo>
                    <a:pt x="97365" y="7144"/>
                  </a:lnTo>
                  <a:lnTo>
                    <a:pt x="120558" y="7144"/>
                  </a:lnTo>
                  <a:lnTo>
                    <a:pt x="120558" y="189614"/>
                  </a:lnTo>
                  <a:lnTo>
                    <a:pt x="97355" y="189614"/>
                  </a:lnTo>
                  <a:close/>
                  <a:moveTo>
                    <a:pt x="97355" y="90230"/>
                  </a:moveTo>
                  <a:cubicBezTo>
                    <a:pt x="91497" y="81525"/>
                    <a:pt x="83477" y="77172"/>
                    <a:pt x="73304" y="77172"/>
                  </a:cubicBezTo>
                  <a:cubicBezTo>
                    <a:pt x="60855" y="77172"/>
                    <a:pt x="50778" y="81763"/>
                    <a:pt x="43091" y="90954"/>
                  </a:cubicBezTo>
                  <a:cubicBezTo>
                    <a:pt x="35404" y="100146"/>
                    <a:pt x="31556" y="111824"/>
                    <a:pt x="31556" y="126025"/>
                  </a:cubicBezTo>
                  <a:cubicBezTo>
                    <a:pt x="31556" y="157220"/>
                    <a:pt x="45882" y="172822"/>
                    <a:pt x="74533" y="172822"/>
                  </a:cubicBezTo>
                  <a:cubicBezTo>
                    <a:pt x="78200" y="172822"/>
                    <a:pt x="82591" y="171679"/>
                    <a:pt x="87716" y="169374"/>
                  </a:cubicBezTo>
                  <a:cubicBezTo>
                    <a:pt x="92840" y="167088"/>
                    <a:pt x="96060" y="164649"/>
                    <a:pt x="97365" y="162058"/>
                  </a:cubicBezTo>
                  <a:lnTo>
                    <a:pt x="97365" y="90230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1060C7BC-EA2E-4237-A593-09DE893A3112}"/>
                </a:ext>
              </a:extLst>
            </p:cNvPr>
            <p:cNvSpPr/>
            <p:nvPr/>
          </p:nvSpPr>
          <p:spPr>
            <a:xfrm>
              <a:off x="3233188" y="3649120"/>
              <a:ext cx="123825" cy="142875"/>
            </a:xfrm>
            <a:custGeom>
              <a:avLst/>
              <a:gdLst>
                <a:gd name="connsiteX0" fmla="*/ 7144 w 123825"/>
                <a:gd name="connsiteY0" fmla="*/ 74019 h 142875"/>
                <a:gd name="connsiteX1" fmla="*/ 23441 w 123825"/>
                <a:gd name="connsiteY1" fmla="*/ 25584 h 142875"/>
                <a:gd name="connsiteX2" fmla="*/ 66351 w 123825"/>
                <a:gd name="connsiteY2" fmla="*/ 7144 h 142875"/>
                <a:gd name="connsiteX3" fmla="*/ 109938 w 123825"/>
                <a:gd name="connsiteY3" fmla="*/ 24851 h 142875"/>
                <a:gd name="connsiteX4" fmla="*/ 125444 w 123825"/>
                <a:gd name="connsiteY4" fmla="*/ 74009 h 142875"/>
                <a:gd name="connsiteX5" fmla="*/ 109576 w 123825"/>
                <a:gd name="connsiteY5" fmla="*/ 123415 h 142875"/>
                <a:gd name="connsiteX6" fmla="*/ 66361 w 123825"/>
                <a:gd name="connsiteY6" fmla="*/ 141484 h 142875"/>
                <a:gd name="connsiteX7" fmla="*/ 22774 w 123825"/>
                <a:gd name="connsiteY7" fmla="*/ 123225 h 142875"/>
                <a:gd name="connsiteX8" fmla="*/ 7144 w 123825"/>
                <a:gd name="connsiteY8" fmla="*/ 74019 h 142875"/>
                <a:gd name="connsiteX9" fmla="*/ 31566 w 123825"/>
                <a:gd name="connsiteY9" fmla="*/ 74019 h 142875"/>
                <a:gd name="connsiteX10" fmla="*/ 66361 w 123825"/>
                <a:gd name="connsiteY10" fmla="*/ 122749 h 142875"/>
                <a:gd name="connsiteX11" fmla="*/ 91811 w 123825"/>
                <a:gd name="connsiteY11" fmla="*/ 109690 h 142875"/>
                <a:gd name="connsiteX12" fmla="*/ 101032 w 123825"/>
                <a:gd name="connsiteY12" fmla="*/ 74019 h 142875"/>
                <a:gd name="connsiteX13" fmla="*/ 66361 w 123825"/>
                <a:gd name="connsiteY13" fmla="*/ 25889 h 142875"/>
                <a:gd name="connsiteX14" fmla="*/ 41024 w 123825"/>
                <a:gd name="connsiteY14" fmla="*/ 38710 h 142875"/>
                <a:gd name="connsiteX15" fmla="*/ 31566 w 123825"/>
                <a:gd name="connsiteY15" fmla="*/ 74019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825" h="142875">
                  <a:moveTo>
                    <a:pt x="7144" y="74019"/>
                  </a:moveTo>
                  <a:cubicBezTo>
                    <a:pt x="7144" y="54026"/>
                    <a:pt x="12573" y="37881"/>
                    <a:pt x="23441" y="25584"/>
                  </a:cubicBezTo>
                  <a:cubicBezTo>
                    <a:pt x="34309" y="13297"/>
                    <a:pt x="48606" y="7144"/>
                    <a:pt x="66351" y="7144"/>
                  </a:cubicBezTo>
                  <a:cubicBezTo>
                    <a:pt x="85068" y="7144"/>
                    <a:pt x="99603" y="13049"/>
                    <a:pt x="109938" y="24851"/>
                  </a:cubicBezTo>
                  <a:cubicBezTo>
                    <a:pt x="120272" y="36662"/>
                    <a:pt x="125444" y="53054"/>
                    <a:pt x="125444" y="74009"/>
                  </a:cubicBezTo>
                  <a:cubicBezTo>
                    <a:pt x="125444" y="94888"/>
                    <a:pt x="120148" y="111357"/>
                    <a:pt x="109576" y="123415"/>
                  </a:cubicBezTo>
                  <a:cubicBezTo>
                    <a:pt x="98993" y="135465"/>
                    <a:pt x="84591" y="141484"/>
                    <a:pt x="66361" y="141484"/>
                  </a:cubicBezTo>
                  <a:cubicBezTo>
                    <a:pt x="47720" y="141484"/>
                    <a:pt x="33195" y="135388"/>
                    <a:pt x="22774" y="123225"/>
                  </a:cubicBezTo>
                  <a:cubicBezTo>
                    <a:pt x="12354" y="111061"/>
                    <a:pt x="7144" y="94659"/>
                    <a:pt x="7144" y="74019"/>
                  </a:cubicBezTo>
                  <a:close/>
                  <a:moveTo>
                    <a:pt x="31566" y="74019"/>
                  </a:moveTo>
                  <a:cubicBezTo>
                    <a:pt x="31566" y="106508"/>
                    <a:pt x="43167" y="122749"/>
                    <a:pt x="66361" y="122749"/>
                  </a:cubicBezTo>
                  <a:cubicBezTo>
                    <a:pt x="77181" y="122749"/>
                    <a:pt x="85668" y="118396"/>
                    <a:pt x="91811" y="109690"/>
                  </a:cubicBezTo>
                  <a:cubicBezTo>
                    <a:pt x="97955" y="100984"/>
                    <a:pt x="101032" y="89097"/>
                    <a:pt x="101032" y="74019"/>
                  </a:cubicBezTo>
                  <a:cubicBezTo>
                    <a:pt x="101032" y="41939"/>
                    <a:pt x="89478" y="25889"/>
                    <a:pt x="66361" y="25889"/>
                  </a:cubicBezTo>
                  <a:cubicBezTo>
                    <a:pt x="55778" y="25889"/>
                    <a:pt x="47339" y="30156"/>
                    <a:pt x="41024" y="38710"/>
                  </a:cubicBezTo>
                  <a:cubicBezTo>
                    <a:pt x="34719" y="47254"/>
                    <a:pt x="31566" y="59017"/>
                    <a:pt x="31566" y="74019"/>
                  </a:cubicBez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BA543BB-A610-44E3-B159-3435A7FE8FA4}"/>
                </a:ext>
              </a:extLst>
            </p:cNvPr>
            <p:cNvSpPr/>
            <p:nvPr/>
          </p:nvSpPr>
          <p:spPr>
            <a:xfrm>
              <a:off x="3443414" y="3649120"/>
              <a:ext cx="114300" cy="142875"/>
            </a:xfrm>
            <a:custGeom>
              <a:avLst/>
              <a:gdLst>
                <a:gd name="connsiteX0" fmla="*/ 87592 w 114300"/>
                <a:gd name="connsiteY0" fmla="*/ 139075 h 142875"/>
                <a:gd name="connsiteX1" fmla="*/ 87592 w 114300"/>
                <a:gd name="connsiteY1" fmla="*/ 63741 h 142875"/>
                <a:gd name="connsiteX2" fmla="*/ 81305 w 114300"/>
                <a:gd name="connsiteY2" fmla="*/ 34776 h 142875"/>
                <a:gd name="connsiteX3" fmla="*/ 60246 w 114300"/>
                <a:gd name="connsiteY3" fmla="*/ 26499 h 142875"/>
                <a:gd name="connsiteX4" fmla="*/ 43644 w 114300"/>
                <a:gd name="connsiteY4" fmla="*/ 31213 h 142875"/>
                <a:gd name="connsiteX5" fmla="*/ 30337 w 114300"/>
                <a:gd name="connsiteY5" fmla="*/ 42824 h 142875"/>
                <a:gd name="connsiteX6" fmla="*/ 30337 w 114300"/>
                <a:gd name="connsiteY6" fmla="*/ 139075 h 142875"/>
                <a:gd name="connsiteX7" fmla="*/ 7144 w 114300"/>
                <a:gd name="connsiteY7" fmla="*/ 139075 h 142875"/>
                <a:gd name="connsiteX8" fmla="*/ 7144 w 114300"/>
                <a:gd name="connsiteY8" fmla="*/ 9563 h 142875"/>
                <a:gd name="connsiteX9" fmla="*/ 23012 w 114300"/>
                <a:gd name="connsiteY9" fmla="*/ 9563 h 142875"/>
                <a:gd name="connsiteX10" fmla="*/ 30337 w 114300"/>
                <a:gd name="connsiteY10" fmla="*/ 26251 h 142875"/>
                <a:gd name="connsiteX11" fmla="*/ 67818 w 114300"/>
                <a:gd name="connsiteY11" fmla="*/ 7144 h 142875"/>
                <a:gd name="connsiteX12" fmla="*/ 110795 w 114300"/>
                <a:gd name="connsiteY12" fmla="*/ 58903 h 142875"/>
                <a:gd name="connsiteX13" fmla="*/ 110795 w 114300"/>
                <a:gd name="connsiteY13" fmla="*/ 139075 h 142875"/>
                <a:gd name="connsiteX14" fmla="*/ 87592 w 114300"/>
                <a:gd name="connsiteY14" fmla="*/ 13907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300" h="142875">
                  <a:moveTo>
                    <a:pt x="87592" y="139075"/>
                  </a:moveTo>
                  <a:lnTo>
                    <a:pt x="87592" y="63741"/>
                  </a:lnTo>
                  <a:cubicBezTo>
                    <a:pt x="87592" y="49959"/>
                    <a:pt x="85496" y="40300"/>
                    <a:pt x="81305" y="34776"/>
                  </a:cubicBezTo>
                  <a:cubicBezTo>
                    <a:pt x="77114" y="29261"/>
                    <a:pt x="70094" y="26499"/>
                    <a:pt x="60246" y="26499"/>
                  </a:cubicBezTo>
                  <a:cubicBezTo>
                    <a:pt x="54950" y="26499"/>
                    <a:pt x="49425" y="28070"/>
                    <a:pt x="43644" y="31213"/>
                  </a:cubicBezTo>
                  <a:cubicBezTo>
                    <a:pt x="37862" y="34357"/>
                    <a:pt x="33433" y="38224"/>
                    <a:pt x="30337" y="42824"/>
                  </a:cubicBezTo>
                  <a:lnTo>
                    <a:pt x="30337" y="139075"/>
                  </a:lnTo>
                  <a:lnTo>
                    <a:pt x="7144" y="139075"/>
                  </a:lnTo>
                  <a:lnTo>
                    <a:pt x="7144" y="9563"/>
                  </a:lnTo>
                  <a:lnTo>
                    <a:pt x="23012" y="9563"/>
                  </a:lnTo>
                  <a:lnTo>
                    <a:pt x="30337" y="26251"/>
                  </a:lnTo>
                  <a:cubicBezTo>
                    <a:pt x="37986" y="13506"/>
                    <a:pt x="50482" y="7144"/>
                    <a:pt x="67818" y="7144"/>
                  </a:cubicBezTo>
                  <a:cubicBezTo>
                    <a:pt x="96469" y="7144"/>
                    <a:pt x="110795" y="24393"/>
                    <a:pt x="110795" y="58903"/>
                  </a:cubicBezTo>
                  <a:lnTo>
                    <a:pt x="110795" y="139075"/>
                  </a:lnTo>
                  <a:lnTo>
                    <a:pt x="87592" y="139075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49C9833A-F4C6-4E5A-A814-23E4F1973BA9}"/>
                </a:ext>
              </a:extLst>
            </p:cNvPr>
            <p:cNvSpPr/>
            <p:nvPr/>
          </p:nvSpPr>
          <p:spPr>
            <a:xfrm>
              <a:off x="3797639" y="3689420"/>
              <a:ext cx="66675" cy="66675"/>
            </a:xfrm>
            <a:custGeom>
              <a:avLst/>
              <a:gdLst>
                <a:gd name="connsiteX0" fmla="*/ 34280 w 66675"/>
                <a:gd name="connsiteY0" fmla="*/ 7144 h 66675"/>
                <a:gd name="connsiteX1" fmla="*/ 53483 w 66675"/>
                <a:gd name="connsiteY1" fmla="*/ 15002 h 66675"/>
                <a:gd name="connsiteX2" fmla="*/ 61417 w 66675"/>
                <a:gd name="connsiteY2" fmla="*/ 34023 h 66675"/>
                <a:gd name="connsiteX3" fmla="*/ 53483 w 66675"/>
                <a:gd name="connsiteY3" fmla="*/ 53045 h 66675"/>
                <a:gd name="connsiteX4" fmla="*/ 34280 w 66675"/>
                <a:gd name="connsiteY4" fmla="*/ 60903 h 66675"/>
                <a:gd name="connsiteX5" fmla="*/ 15078 w 66675"/>
                <a:gd name="connsiteY5" fmla="*/ 53045 h 66675"/>
                <a:gd name="connsiteX6" fmla="*/ 7144 w 66675"/>
                <a:gd name="connsiteY6" fmla="*/ 34023 h 66675"/>
                <a:gd name="connsiteX7" fmla="*/ 15078 w 66675"/>
                <a:gd name="connsiteY7" fmla="*/ 15002 h 66675"/>
                <a:gd name="connsiteX8" fmla="*/ 34280 w 66675"/>
                <a:gd name="connsiteY8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675" h="66675">
                  <a:moveTo>
                    <a:pt x="34280" y="7144"/>
                  </a:moveTo>
                  <a:cubicBezTo>
                    <a:pt x="41796" y="7144"/>
                    <a:pt x="48196" y="9763"/>
                    <a:pt x="53483" y="15002"/>
                  </a:cubicBezTo>
                  <a:cubicBezTo>
                    <a:pt x="58779" y="20241"/>
                    <a:pt x="61417" y="26584"/>
                    <a:pt x="61417" y="34023"/>
                  </a:cubicBezTo>
                  <a:cubicBezTo>
                    <a:pt x="61417" y="41462"/>
                    <a:pt x="58769" y="47806"/>
                    <a:pt x="53483" y="53045"/>
                  </a:cubicBezTo>
                  <a:cubicBezTo>
                    <a:pt x="48187" y="58284"/>
                    <a:pt x="41796" y="60903"/>
                    <a:pt x="34280" y="60903"/>
                  </a:cubicBezTo>
                  <a:cubicBezTo>
                    <a:pt x="26765" y="60903"/>
                    <a:pt x="20364" y="58284"/>
                    <a:pt x="15078" y="53045"/>
                  </a:cubicBezTo>
                  <a:cubicBezTo>
                    <a:pt x="9782" y="47806"/>
                    <a:pt x="7144" y="41462"/>
                    <a:pt x="7144" y="34023"/>
                  </a:cubicBezTo>
                  <a:cubicBezTo>
                    <a:pt x="7144" y="26584"/>
                    <a:pt x="9792" y="20241"/>
                    <a:pt x="15078" y="15002"/>
                  </a:cubicBezTo>
                  <a:cubicBezTo>
                    <a:pt x="20364" y="9763"/>
                    <a:pt x="26765" y="7144"/>
                    <a:pt x="34280" y="7144"/>
                  </a:cubicBez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83B03A28-0611-4D66-95A4-C7A81D300E58}"/>
                </a:ext>
              </a:extLst>
            </p:cNvPr>
            <p:cNvSpPr/>
            <p:nvPr/>
          </p:nvSpPr>
          <p:spPr>
            <a:xfrm>
              <a:off x="4087809" y="3602686"/>
              <a:ext cx="123825" cy="190500"/>
            </a:xfrm>
            <a:custGeom>
              <a:avLst/>
              <a:gdLst>
                <a:gd name="connsiteX0" fmla="*/ 31556 w 123825"/>
                <a:gd name="connsiteY0" fmla="*/ 117310 h 190500"/>
                <a:gd name="connsiteX1" fmla="*/ 31556 w 123825"/>
                <a:gd name="connsiteY1" fmla="*/ 185509 h 190500"/>
                <a:gd name="connsiteX2" fmla="*/ 7144 w 123825"/>
                <a:gd name="connsiteY2" fmla="*/ 185509 h 190500"/>
                <a:gd name="connsiteX3" fmla="*/ 7144 w 123825"/>
                <a:gd name="connsiteY3" fmla="*/ 8353 h 190500"/>
                <a:gd name="connsiteX4" fmla="*/ 40595 w 123825"/>
                <a:gd name="connsiteY4" fmla="*/ 7144 h 190500"/>
                <a:gd name="connsiteX5" fmla="*/ 118481 w 123825"/>
                <a:gd name="connsiteY5" fmla="*/ 58779 h 190500"/>
                <a:gd name="connsiteX6" fmla="*/ 49625 w 123825"/>
                <a:gd name="connsiteY6" fmla="*/ 118510 h 190500"/>
                <a:gd name="connsiteX7" fmla="*/ 31556 w 123825"/>
                <a:gd name="connsiteY7" fmla="*/ 117310 h 190500"/>
                <a:gd name="connsiteX8" fmla="*/ 31556 w 123825"/>
                <a:gd name="connsiteY8" fmla="*/ 30118 h 190500"/>
                <a:gd name="connsiteX9" fmla="*/ 31556 w 123825"/>
                <a:gd name="connsiteY9" fmla="*/ 95536 h 190500"/>
                <a:gd name="connsiteX10" fmla="*/ 47911 w 123825"/>
                <a:gd name="connsiteY10" fmla="*/ 96745 h 190500"/>
                <a:gd name="connsiteX11" fmla="*/ 93326 w 123825"/>
                <a:gd name="connsiteY11" fmla="*/ 61312 h 190500"/>
                <a:gd name="connsiteX12" fmla="*/ 44863 w 123825"/>
                <a:gd name="connsiteY12" fmla="*/ 28908 h 190500"/>
                <a:gd name="connsiteX13" fmla="*/ 31556 w 123825"/>
                <a:gd name="connsiteY13" fmla="*/ 30118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3825" h="190500">
                  <a:moveTo>
                    <a:pt x="31556" y="117310"/>
                  </a:moveTo>
                  <a:lnTo>
                    <a:pt x="31556" y="185509"/>
                  </a:lnTo>
                  <a:lnTo>
                    <a:pt x="7144" y="185509"/>
                  </a:lnTo>
                  <a:lnTo>
                    <a:pt x="7144" y="8353"/>
                  </a:lnTo>
                  <a:cubicBezTo>
                    <a:pt x="25622" y="7553"/>
                    <a:pt x="36766" y="7144"/>
                    <a:pt x="40595" y="7144"/>
                  </a:cubicBezTo>
                  <a:cubicBezTo>
                    <a:pt x="92526" y="7144"/>
                    <a:pt x="118481" y="24355"/>
                    <a:pt x="118481" y="58779"/>
                  </a:cubicBezTo>
                  <a:cubicBezTo>
                    <a:pt x="118481" y="98603"/>
                    <a:pt x="95526" y="118510"/>
                    <a:pt x="49625" y="118510"/>
                  </a:cubicBezTo>
                  <a:cubicBezTo>
                    <a:pt x="46853" y="118520"/>
                    <a:pt x="40834" y="118120"/>
                    <a:pt x="31556" y="117310"/>
                  </a:cubicBezTo>
                  <a:close/>
                  <a:moveTo>
                    <a:pt x="31556" y="30118"/>
                  </a:moveTo>
                  <a:lnTo>
                    <a:pt x="31556" y="95536"/>
                  </a:lnTo>
                  <a:cubicBezTo>
                    <a:pt x="41891" y="96345"/>
                    <a:pt x="47349" y="96745"/>
                    <a:pt x="47911" y="96745"/>
                  </a:cubicBezTo>
                  <a:cubicBezTo>
                    <a:pt x="78191" y="96745"/>
                    <a:pt x="93326" y="84944"/>
                    <a:pt x="93326" y="61312"/>
                  </a:cubicBezTo>
                  <a:cubicBezTo>
                    <a:pt x="93326" y="39710"/>
                    <a:pt x="77171" y="28908"/>
                    <a:pt x="44863" y="28908"/>
                  </a:cubicBezTo>
                  <a:cubicBezTo>
                    <a:pt x="41605" y="28908"/>
                    <a:pt x="37166" y="29318"/>
                    <a:pt x="31556" y="30118"/>
                  </a:cubicBez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C3D0899A-F391-45AD-8F04-EE970BF4D696}"/>
                </a:ext>
              </a:extLst>
            </p:cNvPr>
            <p:cNvSpPr/>
            <p:nvPr/>
          </p:nvSpPr>
          <p:spPr>
            <a:xfrm>
              <a:off x="4274451" y="3649110"/>
              <a:ext cx="123825" cy="142875"/>
            </a:xfrm>
            <a:custGeom>
              <a:avLst/>
              <a:gdLst>
                <a:gd name="connsiteX0" fmla="*/ 87725 w 123825"/>
                <a:gd name="connsiteY0" fmla="*/ 124206 h 142875"/>
                <a:gd name="connsiteX1" fmla="*/ 45120 w 123825"/>
                <a:gd name="connsiteY1" fmla="*/ 141494 h 142875"/>
                <a:gd name="connsiteX2" fmla="*/ 18440 w 123825"/>
                <a:gd name="connsiteY2" fmla="*/ 130435 h 142875"/>
                <a:gd name="connsiteX3" fmla="*/ 7144 w 123825"/>
                <a:gd name="connsiteY3" fmla="*/ 102918 h 142875"/>
                <a:gd name="connsiteX4" fmla="*/ 24536 w 123825"/>
                <a:gd name="connsiteY4" fmla="*/ 69599 h 142875"/>
                <a:gd name="connsiteX5" fmla="*/ 68913 w 123825"/>
                <a:gd name="connsiteY5" fmla="*/ 55997 h 142875"/>
                <a:gd name="connsiteX6" fmla="*/ 85516 w 123825"/>
                <a:gd name="connsiteY6" fmla="*/ 59141 h 142875"/>
                <a:gd name="connsiteX7" fmla="*/ 57188 w 123825"/>
                <a:gd name="connsiteY7" fmla="*/ 27699 h 142875"/>
                <a:gd name="connsiteX8" fmla="*/ 23736 w 123825"/>
                <a:gd name="connsiteY8" fmla="*/ 39310 h 142875"/>
                <a:gd name="connsiteX9" fmla="*/ 13973 w 123825"/>
                <a:gd name="connsiteY9" fmla="*/ 20079 h 142875"/>
                <a:gd name="connsiteX10" fmla="*/ 32223 w 123825"/>
                <a:gd name="connsiteY10" fmla="*/ 10954 h 142875"/>
                <a:gd name="connsiteX11" fmla="*/ 54502 w 123825"/>
                <a:gd name="connsiteY11" fmla="*/ 7144 h 142875"/>
                <a:gd name="connsiteX12" fmla="*/ 95822 w 123825"/>
                <a:gd name="connsiteY12" fmla="*/ 19964 h 142875"/>
                <a:gd name="connsiteX13" fmla="*/ 108709 w 123825"/>
                <a:gd name="connsiteY13" fmla="*/ 60712 h 142875"/>
                <a:gd name="connsiteX14" fmla="*/ 108709 w 123825"/>
                <a:gd name="connsiteY14" fmla="*/ 107147 h 142875"/>
                <a:gd name="connsiteX15" fmla="*/ 118967 w 123825"/>
                <a:gd name="connsiteY15" fmla="*/ 129883 h 142875"/>
                <a:gd name="connsiteX16" fmla="*/ 118967 w 123825"/>
                <a:gd name="connsiteY16" fmla="*/ 141370 h 142875"/>
                <a:gd name="connsiteX17" fmla="*/ 97784 w 123825"/>
                <a:gd name="connsiteY17" fmla="*/ 137379 h 142875"/>
                <a:gd name="connsiteX18" fmla="*/ 87725 w 123825"/>
                <a:gd name="connsiteY18" fmla="*/ 124206 h 142875"/>
                <a:gd name="connsiteX19" fmla="*/ 85525 w 123825"/>
                <a:gd name="connsiteY19" fmla="*/ 75476 h 142875"/>
                <a:gd name="connsiteX20" fmla="*/ 70142 w 123825"/>
                <a:gd name="connsiteY20" fmla="*/ 73057 h 142875"/>
                <a:gd name="connsiteX21" fmla="*/ 41453 w 123825"/>
                <a:gd name="connsiteY21" fmla="*/ 82001 h 142875"/>
                <a:gd name="connsiteX22" fmla="*/ 30347 w 123825"/>
                <a:gd name="connsiteY22" fmla="*/ 103165 h 142875"/>
                <a:gd name="connsiteX23" fmla="*/ 54397 w 123825"/>
                <a:gd name="connsiteY23" fmla="*/ 123358 h 142875"/>
                <a:gd name="connsiteX24" fmla="*/ 85525 w 123825"/>
                <a:gd name="connsiteY24" fmla="*/ 106794 h 142875"/>
                <a:gd name="connsiteX25" fmla="*/ 85525 w 123825"/>
                <a:gd name="connsiteY25" fmla="*/ 75476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23825" h="142875">
                  <a:moveTo>
                    <a:pt x="87725" y="124206"/>
                  </a:moveTo>
                  <a:cubicBezTo>
                    <a:pt x="78448" y="135741"/>
                    <a:pt x="64246" y="141494"/>
                    <a:pt x="45120" y="141494"/>
                  </a:cubicBezTo>
                  <a:cubicBezTo>
                    <a:pt x="34862" y="141494"/>
                    <a:pt x="25975" y="137798"/>
                    <a:pt x="18440" y="130435"/>
                  </a:cubicBezTo>
                  <a:cubicBezTo>
                    <a:pt x="10916" y="123054"/>
                    <a:pt x="7144" y="113881"/>
                    <a:pt x="7144" y="102918"/>
                  </a:cubicBezTo>
                  <a:cubicBezTo>
                    <a:pt x="7144" y="89783"/>
                    <a:pt x="12945" y="78677"/>
                    <a:pt x="24536" y="69599"/>
                  </a:cubicBezTo>
                  <a:cubicBezTo>
                    <a:pt x="36138" y="60541"/>
                    <a:pt x="50921" y="55997"/>
                    <a:pt x="68913" y="55997"/>
                  </a:cubicBezTo>
                  <a:cubicBezTo>
                    <a:pt x="73800" y="55997"/>
                    <a:pt x="79334" y="57036"/>
                    <a:pt x="85516" y="59141"/>
                  </a:cubicBezTo>
                  <a:cubicBezTo>
                    <a:pt x="85516" y="38176"/>
                    <a:pt x="76067" y="27699"/>
                    <a:pt x="57188" y="27699"/>
                  </a:cubicBezTo>
                  <a:cubicBezTo>
                    <a:pt x="42701" y="27699"/>
                    <a:pt x="31547" y="31566"/>
                    <a:pt x="23736" y="39310"/>
                  </a:cubicBezTo>
                  <a:lnTo>
                    <a:pt x="13973" y="20079"/>
                  </a:lnTo>
                  <a:cubicBezTo>
                    <a:pt x="18364" y="16535"/>
                    <a:pt x="24451" y="13487"/>
                    <a:pt x="32223" y="10954"/>
                  </a:cubicBezTo>
                  <a:cubicBezTo>
                    <a:pt x="39996" y="8401"/>
                    <a:pt x="47425" y="7144"/>
                    <a:pt x="54502" y="7144"/>
                  </a:cubicBezTo>
                  <a:cubicBezTo>
                    <a:pt x="73466" y="7144"/>
                    <a:pt x="87240" y="11421"/>
                    <a:pt x="95822" y="19964"/>
                  </a:cubicBezTo>
                  <a:cubicBezTo>
                    <a:pt x="104413" y="28499"/>
                    <a:pt x="108709" y="42091"/>
                    <a:pt x="108709" y="60712"/>
                  </a:cubicBezTo>
                  <a:lnTo>
                    <a:pt x="108709" y="107147"/>
                  </a:lnTo>
                  <a:cubicBezTo>
                    <a:pt x="108709" y="118510"/>
                    <a:pt x="112128" y="126092"/>
                    <a:pt x="118967" y="129883"/>
                  </a:cubicBezTo>
                  <a:lnTo>
                    <a:pt x="118967" y="141370"/>
                  </a:lnTo>
                  <a:cubicBezTo>
                    <a:pt x="109518" y="141370"/>
                    <a:pt x="102470" y="140037"/>
                    <a:pt x="97784" y="137379"/>
                  </a:cubicBezTo>
                  <a:cubicBezTo>
                    <a:pt x="93116" y="134731"/>
                    <a:pt x="89754" y="130331"/>
                    <a:pt x="87725" y="124206"/>
                  </a:cubicBezTo>
                  <a:close/>
                  <a:moveTo>
                    <a:pt x="85525" y="75476"/>
                  </a:moveTo>
                  <a:cubicBezTo>
                    <a:pt x="78200" y="73866"/>
                    <a:pt x="73076" y="73057"/>
                    <a:pt x="70142" y="73057"/>
                  </a:cubicBezTo>
                  <a:cubicBezTo>
                    <a:pt x="58426" y="73057"/>
                    <a:pt x="48854" y="76038"/>
                    <a:pt x="41453" y="82001"/>
                  </a:cubicBezTo>
                  <a:cubicBezTo>
                    <a:pt x="34052" y="87963"/>
                    <a:pt x="30347" y="95012"/>
                    <a:pt x="30347" y="103165"/>
                  </a:cubicBezTo>
                  <a:cubicBezTo>
                    <a:pt x="30347" y="116634"/>
                    <a:pt x="38357" y="123358"/>
                    <a:pt x="54397" y="123358"/>
                  </a:cubicBezTo>
                  <a:cubicBezTo>
                    <a:pt x="66113" y="123358"/>
                    <a:pt x="76495" y="117843"/>
                    <a:pt x="85525" y="106794"/>
                  </a:cubicBezTo>
                  <a:lnTo>
                    <a:pt x="85525" y="75476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AF4FC958-61A1-429F-BDA5-D5CC9D4D081A}"/>
                </a:ext>
              </a:extLst>
            </p:cNvPr>
            <p:cNvSpPr/>
            <p:nvPr/>
          </p:nvSpPr>
          <p:spPr>
            <a:xfrm>
              <a:off x="4481868" y="3649120"/>
              <a:ext cx="85725" cy="142875"/>
            </a:xfrm>
            <a:custGeom>
              <a:avLst/>
              <a:gdLst>
                <a:gd name="connsiteX0" fmla="*/ 76372 w 85725"/>
                <a:gd name="connsiteY0" fmla="*/ 31690 h 142875"/>
                <a:gd name="connsiteX1" fmla="*/ 61103 w 85725"/>
                <a:gd name="connsiteY1" fmla="*/ 26489 h 142875"/>
                <a:gd name="connsiteX2" fmla="*/ 39557 w 85725"/>
                <a:gd name="connsiteY2" fmla="*/ 37738 h 142875"/>
                <a:gd name="connsiteX3" fmla="*/ 30337 w 85725"/>
                <a:gd name="connsiteY3" fmla="*/ 64827 h 142875"/>
                <a:gd name="connsiteX4" fmla="*/ 30337 w 85725"/>
                <a:gd name="connsiteY4" fmla="*/ 139075 h 142875"/>
                <a:gd name="connsiteX5" fmla="*/ 7144 w 85725"/>
                <a:gd name="connsiteY5" fmla="*/ 139075 h 142875"/>
                <a:gd name="connsiteX6" fmla="*/ 7144 w 85725"/>
                <a:gd name="connsiteY6" fmla="*/ 9563 h 142875"/>
                <a:gd name="connsiteX7" fmla="*/ 30337 w 85725"/>
                <a:gd name="connsiteY7" fmla="*/ 9563 h 142875"/>
                <a:gd name="connsiteX8" fmla="*/ 30337 w 85725"/>
                <a:gd name="connsiteY8" fmla="*/ 30242 h 142875"/>
                <a:gd name="connsiteX9" fmla="*/ 68066 w 85725"/>
                <a:gd name="connsiteY9" fmla="*/ 7144 h 142875"/>
                <a:gd name="connsiteX10" fmla="*/ 86001 w 85725"/>
                <a:gd name="connsiteY10" fmla="*/ 9325 h 142875"/>
                <a:gd name="connsiteX11" fmla="*/ 76372 w 85725"/>
                <a:gd name="connsiteY11" fmla="*/ 3169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725" h="142875">
                  <a:moveTo>
                    <a:pt x="76372" y="31690"/>
                  </a:moveTo>
                  <a:cubicBezTo>
                    <a:pt x="71323" y="28223"/>
                    <a:pt x="66227" y="26489"/>
                    <a:pt x="61103" y="26489"/>
                  </a:cubicBezTo>
                  <a:cubicBezTo>
                    <a:pt x="52883" y="26489"/>
                    <a:pt x="45701" y="30242"/>
                    <a:pt x="39557" y="37738"/>
                  </a:cubicBezTo>
                  <a:cubicBezTo>
                    <a:pt x="33414" y="45234"/>
                    <a:pt x="30337" y="54264"/>
                    <a:pt x="30337" y="64827"/>
                  </a:cubicBezTo>
                  <a:lnTo>
                    <a:pt x="30337" y="139075"/>
                  </a:lnTo>
                  <a:lnTo>
                    <a:pt x="7144" y="139075"/>
                  </a:lnTo>
                  <a:lnTo>
                    <a:pt x="7144" y="9563"/>
                  </a:lnTo>
                  <a:lnTo>
                    <a:pt x="30337" y="9563"/>
                  </a:lnTo>
                  <a:lnTo>
                    <a:pt x="30337" y="30242"/>
                  </a:lnTo>
                  <a:cubicBezTo>
                    <a:pt x="38805" y="14849"/>
                    <a:pt x="51378" y="7144"/>
                    <a:pt x="68066" y="7144"/>
                  </a:cubicBezTo>
                  <a:cubicBezTo>
                    <a:pt x="72219" y="7144"/>
                    <a:pt x="78191" y="7868"/>
                    <a:pt x="86001" y="9325"/>
                  </a:cubicBezTo>
                  <a:lnTo>
                    <a:pt x="76372" y="31690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59F5228F-98E9-4DA1-9ABC-498710FA2A2A}"/>
                </a:ext>
              </a:extLst>
            </p:cNvPr>
            <p:cNvSpPr/>
            <p:nvPr/>
          </p:nvSpPr>
          <p:spPr>
            <a:xfrm>
              <a:off x="4638011" y="3602562"/>
              <a:ext cx="57150" cy="190500"/>
            </a:xfrm>
            <a:custGeom>
              <a:avLst/>
              <a:gdLst>
                <a:gd name="connsiteX0" fmla="*/ 25089 w 57150"/>
                <a:gd name="connsiteY0" fmla="*/ 185633 h 190500"/>
                <a:gd name="connsiteX1" fmla="*/ 25089 w 57150"/>
                <a:gd name="connsiteY1" fmla="*/ 75466 h 190500"/>
                <a:gd name="connsiteX2" fmla="*/ 7144 w 57150"/>
                <a:gd name="connsiteY2" fmla="*/ 75466 h 190500"/>
                <a:gd name="connsiteX3" fmla="*/ 7144 w 57150"/>
                <a:gd name="connsiteY3" fmla="*/ 56121 h 190500"/>
                <a:gd name="connsiteX4" fmla="*/ 48282 w 57150"/>
                <a:gd name="connsiteY4" fmla="*/ 56121 h 190500"/>
                <a:gd name="connsiteX5" fmla="*/ 48282 w 57150"/>
                <a:gd name="connsiteY5" fmla="*/ 185633 h 190500"/>
                <a:gd name="connsiteX6" fmla="*/ 25089 w 57150"/>
                <a:gd name="connsiteY6" fmla="*/ 185633 h 190500"/>
                <a:gd name="connsiteX7" fmla="*/ 37786 w 57150"/>
                <a:gd name="connsiteY7" fmla="*/ 7144 h 190500"/>
                <a:gd name="connsiteX8" fmla="*/ 47987 w 57150"/>
                <a:gd name="connsiteY8" fmla="*/ 11316 h 190500"/>
                <a:gd name="connsiteX9" fmla="*/ 52197 w 57150"/>
                <a:gd name="connsiteY9" fmla="*/ 21288 h 190500"/>
                <a:gd name="connsiteX10" fmla="*/ 47987 w 57150"/>
                <a:gd name="connsiteY10" fmla="*/ 31394 h 190500"/>
                <a:gd name="connsiteX11" fmla="*/ 37786 w 57150"/>
                <a:gd name="connsiteY11" fmla="*/ 35566 h 190500"/>
                <a:gd name="connsiteX12" fmla="*/ 27718 w 57150"/>
                <a:gd name="connsiteY12" fmla="*/ 31394 h 190500"/>
                <a:gd name="connsiteX13" fmla="*/ 23498 w 57150"/>
                <a:gd name="connsiteY13" fmla="*/ 21288 h 190500"/>
                <a:gd name="connsiteX14" fmla="*/ 27651 w 57150"/>
                <a:gd name="connsiteY14" fmla="*/ 11249 h 190500"/>
                <a:gd name="connsiteX15" fmla="*/ 37786 w 57150"/>
                <a:gd name="connsiteY15" fmla="*/ 7144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150" h="190500">
                  <a:moveTo>
                    <a:pt x="25089" y="185633"/>
                  </a:moveTo>
                  <a:lnTo>
                    <a:pt x="25089" y="75466"/>
                  </a:lnTo>
                  <a:lnTo>
                    <a:pt x="7144" y="75466"/>
                  </a:lnTo>
                  <a:lnTo>
                    <a:pt x="7144" y="56121"/>
                  </a:lnTo>
                  <a:lnTo>
                    <a:pt x="48282" y="56121"/>
                  </a:lnTo>
                  <a:lnTo>
                    <a:pt x="48282" y="185633"/>
                  </a:lnTo>
                  <a:lnTo>
                    <a:pt x="25089" y="185633"/>
                  </a:lnTo>
                  <a:close/>
                  <a:moveTo>
                    <a:pt x="37786" y="7144"/>
                  </a:moveTo>
                  <a:cubicBezTo>
                    <a:pt x="41767" y="7144"/>
                    <a:pt x="45168" y="8534"/>
                    <a:pt x="47987" y="11316"/>
                  </a:cubicBezTo>
                  <a:cubicBezTo>
                    <a:pt x="50787" y="14087"/>
                    <a:pt x="52197" y="17421"/>
                    <a:pt x="52197" y="21288"/>
                  </a:cubicBezTo>
                  <a:cubicBezTo>
                    <a:pt x="52197" y="25232"/>
                    <a:pt x="50787" y="28603"/>
                    <a:pt x="47987" y="31394"/>
                  </a:cubicBezTo>
                  <a:cubicBezTo>
                    <a:pt x="45168" y="34166"/>
                    <a:pt x="41767" y="35566"/>
                    <a:pt x="37786" y="35566"/>
                  </a:cubicBezTo>
                  <a:cubicBezTo>
                    <a:pt x="33880" y="35566"/>
                    <a:pt x="30518" y="34176"/>
                    <a:pt x="27718" y="31394"/>
                  </a:cubicBezTo>
                  <a:cubicBezTo>
                    <a:pt x="24898" y="28603"/>
                    <a:pt x="23498" y="25241"/>
                    <a:pt x="23498" y="21288"/>
                  </a:cubicBezTo>
                  <a:cubicBezTo>
                    <a:pt x="23498" y="17335"/>
                    <a:pt x="24879" y="13992"/>
                    <a:pt x="27651" y="11249"/>
                  </a:cubicBezTo>
                  <a:cubicBezTo>
                    <a:pt x="30423" y="8515"/>
                    <a:pt x="33804" y="7144"/>
                    <a:pt x="37786" y="7144"/>
                  </a:cubicBez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FBBB3FAA-A65C-4584-92A7-634B6E82AE2B}"/>
                </a:ext>
              </a:extLst>
            </p:cNvPr>
            <p:cNvSpPr/>
            <p:nvPr/>
          </p:nvSpPr>
          <p:spPr>
            <a:xfrm>
              <a:off x="4774980" y="3649120"/>
              <a:ext cx="95250" cy="142875"/>
            </a:xfrm>
            <a:custGeom>
              <a:avLst/>
              <a:gdLst>
                <a:gd name="connsiteX0" fmla="*/ 7144 w 95250"/>
                <a:gd name="connsiteY0" fmla="*/ 131331 h 142875"/>
                <a:gd name="connsiteX1" fmla="*/ 15335 w 95250"/>
                <a:gd name="connsiteY1" fmla="*/ 109566 h 142875"/>
                <a:gd name="connsiteX2" fmla="*/ 46587 w 95250"/>
                <a:gd name="connsiteY2" fmla="*/ 122139 h 142875"/>
                <a:gd name="connsiteX3" fmla="*/ 68075 w 95250"/>
                <a:gd name="connsiteY3" fmla="*/ 104242 h 142875"/>
                <a:gd name="connsiteX4" fmla="*/ 47320 w 95250"/>
                <a:gd name="connsiteY4" fmla="*/ 82229 h 142875"/>
                <a:gd name="connsiteX5" fmla="*/ 25765 w 95250"/>
                <a:gd name="connsiteY5" fmla="*/ 71228 h 142875"/>
                <a:gd name="connsiteX6" fmla="*/ 16116 w 95250"/>
                <a:gd name="connsiteY6" fmla="*/ 62703 h 142875"/>
                <a:gd name="connsiteX7" fmla="*/ 10011 w 95250"/>
                <a:gd name="connsiteY7" fmla="*/ 52549 h 142875"/>
                <a:gd name="connsiteX8" fmla="*/ 8001 w 95250"/>
                <a:gd name="connsiteY8" fmla="*/ 40996 h 142875"/>
                <a:gd name="connsiteX9" fmla="*/ 19717 w 95250"/>
                <a:gd name="connsiteY9" fmla="*/ 16088 h 142875"/>
                <a:gd name="connsiteX10" fmla="*/ 50349 w 95250"/>
                <a:gd name="connsiteY10" fmla="*/ 7144 h 142875"/>
                <a:gd name="connsiteX11" fmla="*/ 86373 w 95250"/>
                <a:gd name="connsiteY11" fmla="*/ 16088 h 142875"/>
                <a:gd name="connsiteX12" fmla="*/ 79781 w 95250"/>
                <a:gd name="connsiteY12" fmla="*/ 37366 h 142875"/>
                <a:gd name="connsiteX13" fmla="*/ 52064 w 95250"/>
                <a:gd name="connsiteY13" fmla="*/ 26479 h 142875"/>
                <a:gd name="connsiteX14" fmla="*/ 38091 w 95250"/>
                <a:gd name="connsiteY14" fmla="*/ 30347 h 142875"/>
                <a:gd name="connsiteX15" fmla="*/ 32414 w 95250"/>
                <a:gd name="connsiteY15" fmla="*/ 40138 h 142875"/>
                <a:gd name="connsiteX16" fmla="*/ 46692 w 95250"/>
                <a:gd name="connsiteY16" fmla="*/ 58998 h 142875"/>
                <a:gd name="connsiteX17" fmla="*/ 63294 w 95250"/>
                <a:gd name="connsiteY17" fmla="*/ 66494 h 142875"/>
                <a:gd name="connsiteX18" fmla="*/ 85515 w 95250"/>
                <a:gd name="connsiteY18" fmla="*/ 82210 h 142875"/>
                <a:gd name="connsiteX19" fmla="*/ 92488 w 95250"/>
                <a:gd name="connsiteY19" fmla="*/ 104337 h 142875"/>
                <a:gd name="connsiteX20" fmla="*/ 80143 w 95250"/>
                <a:gd name="connsiteY20" fmla="*/ 131607 h 142875"/>
                <a:gd name="connsiteX21" fmla="*/ 45958 w 95250"/>
                <a:gd name="connsiteY21" fmla="*/ 141456 h 142875"/>
                <a:gd name="connsiteX22" fmla="*/ 7144 w 95250"/>
                <a:gd name="connsiteY22" fmla="*/ 131331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5250" h="142875">
                  <a:moveTo>
                    <a:pt x="7144" y="131331"/>
                  </a:moveTo>
                  <a:lnTo>
                    <a:pt x="15335" y="109566"/>
                  </a:lnTo>
                  <a:cubicBezTo>
                    <a:pt x="28280" y="117948"/>
                    <a:pt x="38691" y="122139"/>
                    <a:pt x="46587" y="122139"/>
                  </a:cubicBezTo>
                  <a:cubicBezTo>
                    <a:pt x="60913" y="122139"/>
                    <a:pt x="68075" y="116176"/>
                    <a:pt x="68075" y="104242"/>
                  </a:cubicBezTo>
                  <a:cubicBezTo>
                    <a:pt x="68075" y="95698"/>
                    <a:pt x="61151" y="88363"/>
                    <a:pt x="47320" y="82229"/>
                  </a:cubicBezTo>
                  <a:cubicBezTo>
                    <a:pt x="36652" y="77391"/>
                    <a:pt x="29480" y="73714"/>
                    <a:pt x="25765" y="71228"/>
                  </a:cubicBezTo>
                  <a:cubicBezTo>
                    <a:pt x="22050" y="68742"/>
                    <a:pt x="18840" y="65884"/>
                    <a:pt x="16116" y="62703"/>
                  </a:cubicBezTo>
                  <a:cubicBezTo>
                    <a:pt x="13392" y="59512"/>
                    <a:pt x="11354" y="56131"/>
                    <a:pt x="10011" y="52549"/>
                  </a:cubicBezTo>
                  <a:cubicBezTo>
                    <a:pt x="8668" y="48958"/>
                    <a:pt x="8001" y="45110"/>
                    <a:pt x="8001" y="40996"/>
                  </a:cubicBezTo>
                  <a:cubicBezTo>
                    <a:pt x="8001" y="30356"/>
                    <a:pt x="11906" y="22060"/>
                    <a:pt x="19717" y="16088"/>
                  </a:cubicBezTo>
                  <a:cubicBezTo>
                    <a:pt x="27527" y="10116"/>
                    <a:pt x="37738" y="7144"/>
                    <a:pt x="50349" y="7144"/>
                  </a:cubicBezTo>
                  <a:cubicBezTo>
                    <a:pt x="59874" y="7144"/>
                    <a:pt x="71885" y="10125"/>
                    <a:pt x="86373" y="16088"/>
                  </a:cubicBezTo>
                  <a:lnTo>
                    <a:pt x="79781" y="37366"/>
                  </a:lnTo>
                  <a:cubicBezTo>
                    <a:pt x="70580" y="30108"/>
                    <a:pt x="61341" y="26479"/>
                    <a:pt x="52064" y="26479"/>
                  </a:cubicBezTo>
                  <a:cubicBezTo>
                    <a:pt x="46530" y="26479"/>
                    <a:pt x="41872" y="27765"/>
                    <a:pt x="38091" y="30347"/>
                  </a:cubicBezTo>
                  <a:cubicBezTo>
                    <a:pt x="34309" y="32928"/>
                    <a:pt x="32414" y="36185"/>
                    <a:pt x="32414" y="40138"/>
                  </a:cubicBezTo>
                  <a:cubicBezTo>
                    <a:pt x="32414" y="48444"/>
                    <a:pt x="37167" y="54731"/>
                    <a:pt x="46692" y="58998"/>
                  </a:cubicBezTo>
                  <a:lnTo>
                    <a:pt x="63294" y="66494"/>
                  </a:lnTo>
                  <a:cubicBezTo>
                    <a:pt x="73476" y="71085"/>
                    <a:pt x="80877" y="76324"/>
                    <a:pt x="85515" y="82210"/>
                  </a:cubicBezTo>
                  <a:cubicBezTo>
                    <a:pt x="90154" y="88097"/>
                    <a:pt x="92488" y="95469"/>
                    <a:pt x="92488" y="104337"/>
                  </a:cubicBezTo>
                  <a:cubicBezTo>
                    <a:pt x="92488" y="115948"/>
                    <a:pt x="88373" y="125035"/>
                    <a:pt x="80143" y="131607"/>
                  </a:cubicBezTo>
                  <a:cubicBezTo>
                    <a:pt x="71924" y="138170"/>
                    <a:pt x="60531" y="141456"/>
                    <a:pt x="45958" y="141456"/>
                  </a:cubicBezTo>
                  <a:cubicBezTo>
                    <a:pt x="32214" y="141494"/>
                    <a:pt x="19269" y="138103"/>
                    <a:pt x="7144" y="131331"/>
                  </a:cubicBez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BD5CBC48-64FA-4943-B560-6D23857954F0}"/>
                </a:ext>
              </a:extLst>
            </p:cNvPr>
            <p:cNvSpPr/>
            <p:nvPr/>
          </p:nvSpPr>
          <p:spPr>
            <a:xfrm>
              <a:off x="5102345" y="3689420"/>
              <a:ext cx="66675" cy="66675"/>
            </a:xfrm>
            <a:custGeom>
              <a:avLst/>
              <a:gdLst>
                <a:gd name="connsiteX0" fmla="*/ 34280 w 66675"/>
                <a:gd name="connsiteY0" fmla="*/ 7144 h 66675"/>
                <a:gd name="connsiteX1" fmla="*/ 53492 w 66675"/>
                <a:gd name="connsiteY1" fmla="*/ 15002 h 66675"/>
                <a:gd name="connsiteX2" fmla="*/ 61417 w 66675"/>
                <a:gd name="connsiteY2" fmla="*/ 34023 h 66675"/>
                <a:gd name="connsiteX3" fmla="*/ 53492 w 66675"/>
                <a:gd name="connsiteY3" fmla="*/ 53045 h 66675"/>
                <a:gd name="connsiteX4" fmla="*/ 34280 w 66675"/>
                <a:gd name="connsiteY4" fmla="*/ 60903 h 66675"/>
                <a:gd name="connsiteX5" fmla="*/ 15087 w 66675"/>
                <a:gd name="connsiteY5" fmla="*/ 53045 h 66675"/>
                <a:gd name="connsiteX6" fmla="*/ 7144 w 66675"/>
                <a:gd name="connsiteY6" fmla="*/ 34023 h 66675"/>
                <a:gd name="connsiteX7" fmla="*/ 15087 w 66675"/>
                <a:gd name="connsiteY7" fmla="*/ 15002 h 66675"/>
                <a:gd name="connsiteX8" fmla="*/ 34280 w 66675"/>
                <a:gd name="connsiteY8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675" h="66675">
                  <a:moveTo>
                    <a:pt x="34280" y="7144"/>
                  </a:moveTo>
                  <a:cubicBezTo>
                    <a:pt x="41796" y="7144"/>
                    <a:pt x="48196" y="9763"/>
                    <a:pt x="53492" y="15002"/>
                  </a:cubicBezTo>
                  <a:cubicBezTo>
                    <a:pt x="58779" y="20241"/>
                    <a:pt x="61417" y="26584"/>
                    <a:pt x="61417" y="34023"/>
                  </a:cubicBezTo>
                  <a:cubicBezTo>
                    <a:pt x="61417" y="41462"/>
                    <a:pt x="58779" y="47806"/>
                    <a:pt x="53492" y="53045"/>
                  </a:cubicBezTo>
                  <a:cubicBezTo>
                    <a:pt x="48196" y="58284"/>
                    <a:pt x="41796" y="60903"/>
                    <a:pt x="34280" y="60903"/>
                  </a:cubicBezTo>
                  <a:cubicBezTo>
                    <a:pt x="26765" y="60903"/>
                    <a:pt x="20374" y="58284"/>
                    <a:pt x="15087" y="53045"/>
                  </a:cubicBezTo>
                  <a:cubicBezTo>
                    <a:pt x="9792" y="47806"/>
                    <a:pt x="7144" y="41462"/>
                    <a:pt x="7144" y="34023"/>
                  </a:cubicBezTo>
                  <a:cubicBezTo>
                    <a:pt x="7144" y="26584"/>
                    <a:pt x="9792" y="20241"/>
                    <a:pt x="15087" y="15002"/>
                  </a:cubicBezTo>
                  <a:cubicBezTo>
                    <a:pt x="20374" y="9763"/>
                    <a:pt x="26765" y="7144"/>
                    <a:pt x="34280" y="7144"/>
                  </a:cubicBez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4F8034E1-49AC-47DE-AAEE-33A30F35F8CD}"/>
                </a:ext>
              </a:extLst>
            </p:cNvPr>
            <p:cNvSpPr/>
            <p:nvPr/>
          </p:nvSpPr>
          <p:spPr>
            <a:xfrm>
              <a:off x="5376656" y="3603895"/>
              <a:ext cx="180975" cy="190500"/>
            </a:xfrm>
            <a:custGeom>
              <a:avLst/>
              <a:gdLst>
                <a:gd name="connsiteX0" fmla="*/ 157658 w 180975"/>
                <a:gd name="connsiteY0" fmla="*/ 184299 h 190500"/>
                <a:gd name="connsiteX1" fmla="*/ 136417 w 180975"/>
                <a:gd name="connsiteY1" fmla="*/ 70514 h 190500"/>
                <a:gd name="connsiteX2" fmla="*/ 97355 w 180975"/>
                <a:gd name="connsiteY2" fmla="*/ 186719 h 190500"/>
                <a:gd name="connsiteX3" fmla="*/ 91250 w 180975"/>
                <a:gd name="connsiteY3" fmla="*/ 186719 h 190500"/>
                <a:gd name="connsiteX4" fmla="*/ 51092 w 180975"/>
                <a:gd name="connsiteY4" fmla="*/ 70514 h 190500"/>
                <a:gd name="connsiteX5" fmla="*/ 30337 w 180975"/>
                <a:gd name="connsiteY5" fmla="*/ 184299 h 190500"/>
                <a:gd name="connsiteX6" fmla="*/ 7144 w 180975"/>
                <a:gd name="connsiteY6" fmla="*/ 184299 h 190500"/>
                <a:gd name="connsiteX7" fmla="*/ 40596 w 180975"/>
                <a:gd name="connsiteY7" fmla="*/ 7144 h 190500"/>
                <a:gd name="connsiteX8" fmla="*/ 51692 w 180975"/>
                <a:gd name="connsiteY8" fmla="*/ 7144 h 190500"/>
                <a:gd name="connsiteX9" fmla="*/ 94307 w 180975"/>
                <a:gd name="connsiteY9" fmla="*/ 136408 h 190500"/>
                <a:gd name="connsiteX10" fmla="*/ 133617 w 180975"/>
                <a:gd name="connsiteY10" fmla="*/ 7144 h 190500"/>
                <a:gd name="connsiteX11" fmla="*/ 144609 w 180975"/>
                <a:gd name="connsiteY11" fmla="*/ 7144 h 190500"/>
                <a:gd name="connsiteX12" fmla="*/ 180861 w 180975"/>
                <a:gd name="connsiteY12" fmla="*/ 184299 h 190500"/>
                <a:gd name="connsiteX13" fmla="*/ 157658 w 180975"/>
                <a:gd name="connsiteY13" fmla="*/ 184299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0975" h="190500">
                  <a:moveTo>
                    <a:pt x="157658" y="184299"/>
                  </a:moveTo>
                  <a:lnTo>
                    <a:pt x="136417" y="70514"/>
                  </a:lnTo>
                  <a:lnTo>
                    <a:pt x="97355" y="186719"/>
                  </a:lnTo>
                  <a:lnTo>
                    <a:pt x="91250" y="186719"/>
                  </a:lnTo>
                  <a:lnTo>
                    <a:pt x="51092" y="70514"/>
                  </a:lnTo>
                  <a:lnTo>
                    <a:pt x="30337" y="184299"/>
                  </a:lnTo>
                  <a:lnTo>
                    <a:pt x="7144" y="184299"/>
                  </a:lnTo>
                  <a:lnTo>
                    <a:pt x="40596" y="7144"/>
                  </a:lnTo>
                  <a:lnTo>
                    <a:pt x="51692" y="7144"/>
                  </a:lnTo>
                  <a:lnTo>
                    <a:pt x="94307" y="136408"/>
                  </a:lnTo>
                  <a:lnTo>
                    <a:pt x="133617" y="7144"/>
                  </a:lnTo>
                  <a:lnTo>
                    <a:pt x="144609" y="7144"/>
                  </a:lnTo>
                  <a:lnTo>
                    <a:pt x="180861" y="184299"/>
                  </a:lnTo>
                  <a:lnTo>
                    <a:pt x="157658" y="184299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04A6C2A8-2A59-4C96-898C-DDF358A3360F}"/>
                </a:ext>
              </a:extLst>
            </p:cNvPr>
            <p:cNvSpPr/>
            <p:nvPr/>
          </p:nvSpPr>
          <p:spPr>
            <a:xfrm>
              <a:off x="5628859" y="3649110"/>
              <a:ext cx="123825" cy="142875"/>
            </a:xfrm>
            <a:custGeom>
              <a:avLst/>
              <a:gdLst>
                <a:gd name="connsiteX0" fmla="*/ 87716 w 123825"/>
                <a:gd name="connsiteY0" fmla="*/ 124206 h 142875"/>
                <a:gd name="connsiteX1" fmla="*/ 45111 w 123825"/>
                <a:gd name="connsiteY1" fmla="*/ 141494 h 142875"/>
                <a:gd name="connsiteX2" fmla="*/ 18440 w 123825"/>
                <a:gd name="connsiteY2" fmla="*/ 130435 h 142875"/>
                <a:gd name="connsiteX3" fmla="*/ 7144 w 123825"/>
                <a:gd name="connsiteY3" fmla="*/ 102918 h 142875"/>
                <a:gd name="connsiteX4" fmla="*/ 24546 w 123825"/>
                <a:gd name="connsiteY4" fmla="*/ 69599 h 142875"/>
                <a:gd name="connsiteX5" fmla="*/ 68914 w 123825"/>
                <a:gd name="connsiteY5" fmla="*/ 55997 h 142875"/>
                <a:gd name="connsiteX6" fmla="*/ 85516 w 123825"/>
                <a:gd name="connsiteY6" fmla="*/ 59141 h 142875"/>
                <a:gd name="connsiteX7" fmla="*/ 57188 w 123825"/>
                <a:gd name="connsiteY7" fmla="*/ 27699 h 142875"/>
                <a:gd name="connsiteX8" fmla="*/ 23736 w 123825"/>
                <a:gd name="connsiteY8" fmla="*/ 39310 h 142875"/>
                <a:gd name="connsiteX9" fmla="*/ 13973 w 123825"/>
                <a:gd name="connsiteY9" fmla="*/ 20079 h 142875"/>
                <a:gd name="connsiteX10" fmla="*/ 32223 w 123825"/>
                <a:gd name="connsiteY10" fmla="*/ 10954 h 142875"/>
                <a:gd name="connsiteX11" fmla="*/ 54512 w 123825"/>
                <a:gd name="connsiteY11" fmla="*/ 7144 h 142875"/>
                <a:gd name="connsiteX12" fmla="*/ 95841 w 123825"/>
                <a:gd name="connsiteY12" fmla="*/ 19964 h 142875"/>
                <a:gd name="connsiteX13" fmla="*/ 108718 w 123825"/>
                <a:gd name="connsiteY13" fmla="*/ 60712 h 142875"/>
                <a:gd name="connsiteX14" fmla="*/ 108718 w 123825"/>
                <a:gd name="connsiteY14" fmla="*/ 107147 h 142875"/>
                <a:gd name="connsiteX15" fmla="*/ 118977 w 123825"/>
                <a:gd name="connsiteY15" fmla="*/ 129883 h 142875"/>
                <a:gd name="connsiteX16" fmla="*/ 118977 w 123825"/>
                <a:gd name="connsiteY16" fmla="*/ 141370 h 142875"/>
                <a:gd name="connsiteX17" fmla="*/ 97803 w 123825"/>
                <a:gd name="connsiteY17" fmla="*/ 137379 h 142875"/>
                <a:gd name="connsiteX18" fmla="*/ 87716 w 123825"/>
                <a:gd name="connsiteY18" fmla="*/ 124206 h 142875"/>
                <a:gd name="connsiteX19" fmla="*/ 85525 w 123825"/>
                <a:gd name="connsiteY19" fmla="*/ 75476 h 142875"/>
                <a:gd name="connsiteX20" fmla="*/ 70142 w 123825"/>
                <a:gd name="connsiteY20" fmla="*/ 73057 h 142875"/>
                <a:gd name="connsiteX21" fmla="*/ 41453 w 123825"/>
                <a:gd name="connsiteY21" fmla="*/ 82001 h 142875"/>
                <a:gd name="connsiteX22" fmla="*/ 30347 w 123825"/>
                <a:gd name="connsiteY22" fmla="*/ 103165 h 142875"/>
                <a:gd name="connsiteX23" fmla="*/ 54398 w 123825"/>
                <a:gd name="connsiteY23" fmla="*/ 123358 h 142875"/>
                <a:gd name="connsiteX24" fmla="*/ 85525 w 123825"/>
                <a:gd name="connsiteY24" fmla="*/ 106794 h 142875"/>
                <a:gd name="connsiteX25" fmla="*/ 85525 w 123825"/>
                <a:gd name="connsiteY25" fmla="*/ 75476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23825" h="142875">
                  <a:moveTo>
                    <a:pt x="87716" y="124206"/>
                  </a:moveTo>
                  <a:cubicBezTo>
                    <a:pt x="78439" y="135741"/>
                    <a:pt x="64227" y="141494"/>
                    <a:pt x="45111" y="141494"/>
                  </a:cubicBezTo>
                  <a:cubicBezTo>
                    <a:pt x="34852" y="141494"/>
                    <a:pt x="25965" y="137798"/>
                    <a:pt x="18440" y="130435"/>
                  </a:cubicBezTo>
                  <a:cubicBezTo>
                    <a:pt x="10906" y="123054"/>
                    <a:pt x="7144" y="113881"/>
                    <a:pt x="7144" y="102918"/>
                  </a:cubicBezTo>
                  <a:cubicBezTo>
                    <a:pt x="7144" y="89783"/>
                    <a:pt x="12935" y="78677"/>
                    <a:pt x="24546" y="69599"/>
                  </a:cubicBezTo>
                  <a:cubicBezTo>
                    <a:pt x="36138" y="60541"/>
                    <a:pt x="50930" y="55997"/>
                    <a:pt x="68914" y="55997"/>
                  </a:cubicBezTo>
                  <a:cubicBezTo>
                    <a:pt x="73800" y="55997"/>
                    <a:pt x="79324" y="57036"/>
                    <a:pt x="85516" y="59141"/>
                  </a:cubicBezTo>
                  <a:cubicBezTo>
                    <a:pt x="85516" y="38176"/>
                    <a:pt x="76076" y="27699"/>
                    <a:pt x="57188" y="27699"/>
                  </a:cubicBezTo>
                  <a:cubicBezTo>
                    <a:pt x="42701" y="27699"/>
                    <a:pt x="31547" y="31566"/>
                    <a:pt x="23736" y="39310"/>
                  </a:cubicBezTo>
                  <a:lnTo>
                    <a:pt x="13973" y="20079"/>
                  </a:lnTo>
                  <a:cubicBezTo>
                    <a:pt x="18364" y="16535"/>
                    <a:pt x="24451" y="13487"/>
                    <a:pt x="32223" y="10954"/>
                  </a:cubicBezTo>
                  <a:cubicBezTo>
                    <a:pt x="39996" y="8401"/>
                    <a:pt x="47425" y="7144"/>
                    <a:pt x="54512" y="7144"/>
                  </a:cubicBezTo>
                  <a:cubicBezTo>
                    <a:pt x="73476" y="7144"/>
                    <a:pt x="87249" y="11421"/>
                    <a:pt x="95841" y="19964"/>
                  </a:cubicBezTo>
                  <a:cubicBezTo>
                    <a:pt x="104423" y="28499"/>
                    <a:pt x="108718" y="42091"/>
                    <a:pt x="108718" y="60712"/>
                  </a:cubicBezTo>
                  <a:lnTo>
                    <a:pt x="108718" y="107147"/>
                  </a:lnTo>
                  <a:cubicBezTo>
                    <a:pt x="108718" y="118510"/>
                    <a:pt x="112138" y="126092"/>
                    <a:pt x="118977" y="129883"/>
                  </a:cubicBezTo>
                  <a:lnTo>
                    <a:pt x="118977" y="141370"/>
                  </a:lnTo>
                  <a:cubicBezTo>
                    <a:pt x="109538" y="141370"/>
                    <a:pt x="102480" y="140037"/>
                    <a:pt x="97803" y="137379"/>
                  </a:cubicBezTo>
                  <a:cubicBezTo>
                    <a:pt x="93107" y="134731"/>
                    <a:pt x="89754" y="130331"/>
                    <a:pt x="87716" y="124206"/>
                  </a:cubicBezTo>
                  <a:close/>
                  <a:moveTo>
                    <a:pt x="85525" y="75476"/>
                  </a:moveTo>
                  <a:cubicBezTo>
                    <a:pt x="78200" y="73866"/>
                    <a:pt x="73076" y="73057"/>
                    <a:pt x="70142" y="73057"/>
                  </a:cubicBezTo>
                  <a:cubicBezTo>
                    <a:pt x="58426" y="73057"/>
                    <a:pt x="48854" y="76038"/>
                    <a:pt x="41453" y="82001"/>
                  </a:cubicBezTo>
                  <a:cubicBezTo>
                    <a:pt x="34052" y="87963"/>
                    <a:pt x="30347" y="95012"/>
                    <a:pt x="30347" y="103165"/>
                  </a:cubicBezTo>
                  <a:cubicBezTo>
                    <a:pt x="30347" y="116634"/>
                    <a:pt x="38357" y="123358"/>
                    <a:pt x="54398" y="123358"/>
                  </a:cubicBezTo>
                  <a:cubicBezTo>
                    <a:pt x="66113" y="123358"/>
                    <a:pt x="76495" y="117843"/>
                    <a:pt x="85525" y="106794"/>
                  </a:cubicBezTo>
                  <a:lnTo>
                    <a:pt x="85525" y="75476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C1DD6637-8CDE-4825-9EB4-46066DB32677}"/>
                </a:ext>
              </a:extLst>
            </p:cNvPr>
            <p:cNvSpPr/>
            <p:nvPr/>
          </p:nvSpPr>
          <p:spPr>
            <a:xfrm>
              <a:off x="5827121" y="3598447"/>
              <a:ext cx="123825" cy="190500"/>
            </a:xfrm>
            <a:custGeom>
              <a:avLst/>
              <a:gdLst>
                <a:gd name="connsiteX0" fmla="*/ 97365 w 123825"/>
                <a:gd name="connsiteY0" fmla="*/ 189624 h 190500"/>
                <a:gd name="connsiteX1" fmla="*/ 97365 w 123825"/>
                <a:gd name="connsiteY1" fmla="*/ 180070 h 190500"/>
                <a:gd name="connsiteX2" fmla="*/ 62208 w 123825"/>
                <a:gd name="connsiteY2" fmla="*/ 192043 h 190500"/>
                <a:gd name="connsiteX3" fmla="*/ 22413 w 123825"/>
                <a:gd name="connsiteY3" fmla="*/ 174631 h 190500"/>
                <a:gd name="connsiteX4" fmla="*/ 7144 w 123825"/>
                <a:gd name="connsiteY4" fmla="*/ 128197 h 190500"/>
                <a:gd name="connsiteX5" fmla="*/ 24727 w 123825"/>
                <a:gd name="connsiteY5" fmla="*/ 78429 h 190500"/>
                <a:gd name="connsiteX6" fmla="*/ 66608 w 123825"/>
                <a:gd name="connsiteY6" fmla="*/ 57817 h 190500"/>
                <a:gd name="connsiteX7" fmla="*/ 97374 w 123825"/>
                <a:gd name="connsiteY7" fmla="*/ 67246 h 190500"/>
                <a:gd name="connsiteX8" fmla="*/ 97374 w 123825"/>
                <a:gd name="connsiteY8" fmla="*/ 7144 h 190500"/>
                <a:gd name="connsiteX9" fmla="*/ 120568 w 123825"/>
                <a:gd name="connsiteY9" fmla="*/ 7144 h 190500"/>
                <a:gd name="connsiteX10" fmla="*/ 120568 w 123825"/>
                <a:gd name="connsiteY10" fmla="*/ 189614 h 190500"/>
                <a:gd name="connsiteX11" fmla="*/ 97365 w 123825"/>
                <a:gd name="connsiteY11" fmla="*/ 189614 h 190500"/>
                <a:gd name="connsiteX12" fmla="*/ 97365 w 123825"/>
                <a:gd name="connsiteY12" fmla="*/ 90230 h 190500"/>
                <a:gd name="connsiteX13" fmla="*/ 73305 w 123825"/>
                <a:gd name="connsiteY13" fmla="*/ 77172 h 190500"/>
                <a:gd name="connsiteX14" fmla="*/ 43091 w 123825"/>
                <a:gd name="connsiteY14" fmla="*/ 90954 h 190500"/>
                <a:gd name="connsiteX15" fmla="*/ 31547 w 123825"/>
                <a:gd name="connsiteY15" fmla="*/ 126025 h 190500"/>
                <a:gd name="connsiteX16" fmla="*/ 74524 w 123825"/>
                <a:gd name="connsiteY16" fmla="*/ 172822 h 190500"/>
                <a:gd name="connsiteX17" fmla="*/ 87706 w 123825"/>
                <a:gd name="connsiteY17" fmla="*/ 169374 h 190500"/>
                <a:gd name="connsiteX18" fmla="*/ 97365 w 123825"/>
                <a:gd name="connsiteY18" fmla="*/ 162058 h 190500"/>
                <a:gd name="connsiteX19" fmla="*/ 97365 w 123825"/>
                <a:gd name="connsiteY19" fmla="*/ 9023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825" h="190500">
                  <a:moveTo>
                    <a:pt x="97365" y="189624"/>
                  </a:moveTo>
                  <a:lnTo>
                    <a:pt x="97365" y="180070"/>
                  </a:lnTo>
                  <a:cubicBezTo>
                    <a:pt x="89306" y="188052"/>
                    <a:pt x="77591" y="192043"/>
                    <a:pt x="62208" y="192043"/>
                  </a:cubicBezTo>
                  <a:cubicBezTo>
                    <a:pt x="45854" y="192043"/>
                    <a:pt x="32576" y="186242"/>
                    <a:pt x="22413" y="174631"/>
                  </a:cubicBezTo>
                  <a:cubicBezTo>
                    <a:pt x="12230" y="163020"/>
                    <a:pt x="7144" y="147542"/>
                    <a:pt x="7144" y="128197"/>
                  </a:cubicBezTo>
                  <a:cubicBezTo>
                    <a:pt x="7144" y="108775"/>
                    <a:pt x="13002" y="92183"/>
                    <a:pt x="24727" y="78429"/>
                  </a:cubicBezTo>
                  <a:cubicBezTo>
                    <a:pt x="36443" y="64694"/>
                    <a:pt x="50407" y="57817"/>
                    <a:pt x="66608" y="57817"/>
                  </a:cubicBezTo>
                  <a:cubicBezTo>
                    <a:pt x="80115" y="57817"/>
                    <a:pt x="90364" y="60960"/>
                    <a:pt x="97374" y="67246"/>
                  </a:cubicBezTo>
                  <a:lnTo>
                    <a:pt x="97374" y="7144"/>
                  </a:lnTo>
                  <a:lnTo>
                    <a:pt x="120568" y="7144"/>
                  </a:lnTo>
                  <a:lnTo>
                    <a:pt x="120568" y="189614"/>
                  </a:lnTo>
                  <a:lnTo>
                    <a:pt x="97365" y="189614"/>
                  </a:lnTo>
                  <a:close/>
                  <a:moveTo>
                    <a:pt x="97365" y="90230"/>
                  </a:moveTo>
                  <a:cubicBezTo>
                    <a:pt x="91507" y="81525"/>
                    <a:pt x="83487" y="77172"/>
                    <a:pt x="73305" y="77172"/>
                  </a:cubicBezTo>
                  <a:cubicBezTo>
                    <a:pt x="60855" y="77172"/>
                    <a:pt x="50787" y="81763"/>
                    <a:pt x="43091" y="90954"/>
                  </a:cubicBezTo>
                  <a:cubicBezTo>
                    <a:pt x="35405" y="100146"/>
                    <a:pt x="31547" y="111824"/>
                    <a:pt x="31547" y="126025"/>
                  </a:cubicBezTo>
                  <a:cubicBezTo>
                    <a:pt x="31547" y="157220"/>
                    <a:pt x="45882" y="172822"/>
                    <a:pt x="74524" y="172822"/>
                  </a:cubicBezTo>
                  <a:cubicBezTo>
                    <a:pt x="78181" y="172822"/>
                    <a:pt x="82582" y="171679"/>
                    <a:pt x="87706" y="169374"/>
                  </a:cubicBezTo>
                  <a:cubicBezTo>
                    <a:pt x="92831" y="167088"/>
                    <a:pt x="96050" y="164649"/>
                    <a:pt x="97365" y="162058"/>
                  </a:cubicBezTo>
                  <a:lnTo>
                    <a:pt x="97365" y="90230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530E22A0-9583-4150-89B3-CED9626A10FC}"/>
                </a:ext>
              </a:extLst>
            </p:cNvPr>
            <p:cNvSpPr/>
            <p:nvPr/>
          </p:nvSpPr>
          <p:spPr>
            <a:xfrm>
              <a:off x="6043072" y="3649120"/>
              <a:ext cx="85725" cy="142875"/>
            </a:xfrm>
            <a:custGeom>
              <a:avLst/>
              <a:gdLst>
                <a:gd name="connsiteX0" fmla="*/ 76362 w 85725"/>
                <a:gd name="connsiteY0" fmla="*/ 31690 h 142875"/>
                <a:gd name="connsiteX1" fmla="*/ 61103 w 85725"/>
                <a:gd name="connsiteY1" fmla="*/ 26489 h 142875"/>
                <a:gd name="connsiteX2" fmla="*/ 39557 w 85725"/>
                <a:gd name="connsiteY2" fmla="*/ 37738 h 142875"/>
                <a:gd name="connsiteX3" fmla="*/ 30337 w 85725"/>
                <a:gd name="connsiteY3" fmla="*/ 64827 h 142875"/>
                <a:gd name="connsiteX4" fmla="*/ 30337 w 85725"/>
                <a:gd name="connsiteY4" fmla="*/ 139075 h 142875"/>
                <a:gd name="connsiteX5" fmla="*/ 7144 w 85725"/>
                <a:gd name="connsiteY5" fmla="*/ 139075 h 142875"/>
                <a:gd name="connsiteX6" fmla="*/ 7144 w 85725"/>
                <a:gd name="connsiteY6" fmla="*/ 9563 h 142875"/>
                <a:gd name="connsiteX7" fmla="*/ 30337 w 85725"/>
                <a:gd name="connsiteY7" fmla="*/ 9563 h 142875"/>
                <a:gd name="connsiteX8" fmla="*/ 30337 w 85725"/>
                <a:gd name="connsiteY8" fmla="*/ 30242 h 142875"/>
                <a:gd name="connsiteX9" fmla="*/ 68056 w 85725"/>
                <a:gd name="connsiteY9" fmla="*/ 7144 h 142875"/>
                <a:gd name="connsiteX10" fmla="*/ 86001 w 85725"/>
                <a:gd name="connsiteY10" fmla="*/ 9325 h 142875"/>
                <a:gd name="connsiteX11" fmla="*/ 76362 w 85725"/>
                <a:gd name="connsiteY11" fmla="*/ 3169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725" h="142875">
                  <a:moveTo>
                    <a:pt x="76362" y="31690"/>
                  </a:moveTo>
                  <a:cubicBezTo>
                    <a:pt x="71323" y="28223"/>
                    <a:pt x="66227" y="26489"/>
                    <a:pt x="61103" y="26489"/>
                  </a:cubicBezTo>
                  <a:cubicBezTo>
                    <a:pt x="52883" y="26489"/>
                    <a:pt x="45701" y="30242"/>
                    <a:pt x="39557" y="37738"/>
                  </a:cubicBezTo>
                  <a:cubicBezTo>
                    <a:pt x="33404" y="45234"/>
                    <a:pt x="30337" y="54264"/>
                    <a:pt x="30337" y="64827"/>
                  </a:cubicBezTo>
                  <a:lnTo>
                    <a:pt x="30337" y="139075"/>
                  </a:lnTo>
                  <a:lnTo>
                    <a:pt x="7144" y="139075"/>
                  </a:lnTo>
                  <a:lnTo>
                    <a:pt x="7144" y="9563"/>
                  </a:lnTo>
                  <a:lnTo>
                    <a:pt x="30337" y="9563"/>
                  </a:lnTo>
                  <a:lnTo>
                    <a:pt x="30337" y="30242"/>
                  </a:lnTo>
                  <a:cubicBezTo>
                    <a:pt x="38795" y="14849"/>
                    <a:pt x="51368" y="7144"/>
                    <a:pt x="68056" y="7144"/>
                  </a:cubicBezTo>
                  <a:cubicBezTo>
                    <a:pt x="72209" y="7144"/>
                    <a:pt x="78191" y="7868"/>
                    <a:pt x="86001" y="9325"/>
                  </a:cubicBezTo>
                  <a:lnTo>
                    <a:pt x="76362" y="31690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EF9CBD14-2F10-4512-AE15-AF56DAB8AD78}"/>
                </a:ext>
              </a:extLst>
            </p:cNvPr>
            <p:cNvSpPr/>
            <p:nvPr/>
          </p:nvSpPr>
          <p:spPr>
            <a:xfrm>
              <a:off x="6199206" y="3602562"/>
              <a:ext cx="57150" cy="190500"/>
            </a:xfrm>
            <a:custGeom>
              <a:avLst/>
              <a:gdLst>
                <a:gd name="connsiteX0" fmla="*/ 25089 w 57150"/>
                <a:gd name="connsiteY0" fmla="*/ 185633 h 190500"/>
                <a:gd name="connsiteX1" fmla="*/ 25089 w 57150"/>
                <a:gd name="connsiteY1" fmla="*/ 75466 h 190500"/>
                <a:gd name="connsiteX2" fmla="*/ 7144 w 57150"/>
                <a:gd name="connsiteY2" fmla="*/ 75466 h 190500"/>
                <a:gd name="connsiteX3" fmla="*/ 7144 w 57150"/>
                <a:gd name="connsiteY3" fmla="*/ 56121 h 190500"/>
                <a:gd name="connsiteX4" fmla="*/ 48282 w 57150"/>
                <a:gd name="connsiteY4" fmla="*/ 56121 h 190500"/>
                <a:gd name="connsiteX5" fmla="*/ 48282 w 57150"/>
                <a:gd name="connsiteY5" fmla="*/ 185633 h 190500"/>
                <a:gd name="connsiteX6" fmla="*/ 25089 w 57150"/>
                <a:gd name="connsiteY6" fmla="*/ 185633 h 190500"/>
                <a:gd name="connsiteX7" fmla="*/ 37785 w 57150"/>
                <a:gd name="connsiteY7" fmla="*/ 7144 h 190500"/>
                <a:gd name="connsiteX8" fmla="*/ 47977 w 57150"/>
                <a:gd name="connsiteY8" fmla="*/ 11316 h 190500"/>
                <a:gd name="connsiteX9" fmla="*/ 52197 w 57150"/>
                <a:gd name="connsiteY9" fmla="*/ 21288 h 190500"/>
                <a:gd name="connsiteX10" fmla="*/ 47977 w 57150"/>
                <a:gd name="connsiteY10" fmla="*/ 31394 h 190500"/>
                <a:gd name="connsiteX11" fmla="*/ 37785 w 57150"/>
                <a:gd name="connsiteY11" fmla="*/ 35566 h 190500"/>
                <a:gd name="connsiteX12" fmla="*/ 27708 w 57150"/>
                <a:gd name="connsiteY12" fmla="*/ 31394 h 190500"/>
                <a:gd name="connsiteX13" fmla="*/ 23498 w 57150"/>
                <a:gd name="connsiteY13" fmla="*/ 21288 h 190500"/>
                <a:gd name="connsiteX14" fmla="*/ 27651 w 57150"/>
                <a:gd name="connsiteY14" fmla="*/ 11249 h 190500"/>
                <a:gd name="connsiteX15" fmla="*/ 37785 w 57150"/>
                <a:gd name="connsiteY15" fmla="*/ 7144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150" h="190500">
                  <a:moveTo>
                    <a:pt x="25089" y="185633"/>
                  </a:moveTo>
                  <a:lnTo>
                    <a:pt x="25089" y="75466"/>
                  </a:lnTo>
                  <a:lnTo>
                    <a:pt x="7144" y="75466"/>
                  </a:lnTo>
                  <a:lnTo>
                    <a:pt x="7144" y="56121"/>
                  </a:lnTo>
                  <a:lnTo>
                    <a:pt x="48282" y="56121"/>
                  </a:lnTo>
                  <a:lnTo>
                    <a:pt x="48282" y="185633"/>
                  </a:lnTo>
                  <a:lnTo>
                    <a:pt x="25089" y="185633"/>
                  </a:lnTo>
                  <a:close/>
                  <a:moveTo>
                    <a:pt x="37785" y="7144"/>
                  </a:moveTo>
                  <a:cubicBezTo>
                    <a:pt x="41777" y="7144"/>
                    <a:pt x="45177" y="8534"/>
                    <a:pt x="47977" y="11316"/>
                  </a:cubicBezTo>
                  <a:cubicBezTo>
                    <a:pt x="50797" y="14087"/>
                    <a:pt x="52197" y="17421"/>
                    <a:pt x="52197" y="21288"/>
                  </a:cubicBezTo>
                  <a:cubicBezTo>
                    <a:pt x="52197" y="25232"/>
                    <a:pt x="50797" y="28603"/>
                    <a:pt x="47977" y="31394"/>
                  </a:cubicBezTo>
                  <a:cubicBezTo>
                    <a:pt x="45177" y="34166"/>
                    <a:pt x="41777" y="35566"/>
                    <a:pt x="37785" y="35566"/>
                  </a:cubicBezTo>
                  <a:cubicBezTo>
                    <a:pt x="33880" y="35566"/>
                    <a:pt x="30527" y="34176"/>
                    <a:pt x="27708" y="31394"/>
                  </a:cubicBezTo>
                  <a:cubicBezTo>
                    <a:pt x="24908" y="28603"/>
                    <a:pt x="23498" y="25241"/>
                    <a:pt x="23498" y="21288"/>
                  </a:cubicBezTo>
                  <a:cubicBezTo>
                    <a:pt x="23498" y="17335"/>
                    <a:pt x="24879" y="13992"/>
                    <a:pt x="27651" y="11249"/>
                  </a:cubicBezTo>
                  <a:cubicBezTo>
                    <a:pt x="30423" y="8515"/>
                    <a:pt x="33794" y="7144"/>
                    <a:pt x="37785" y="7144"/>
                  </a:cubicBez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E8C840D5-B804-4B87-B743-3F918F8E502C}"/>
                </a:ext>
              </a:extLst>
            </p:cNvPr>
            <p:cNvSpPr/>
            <p:nvPr/>
          </p:nvSpPr>
          <p:spPr>
            <a:xfrm>
              <a:off x="6337404" y="3598447"/>
              <a:ext cx="123825" cy="190500"/>
            </a:xfrm>
            <a:custGeom>
              <a:avLst/>
              <a:gdLst>
                <a:gd name="connsiteX0" fmla="*/ 97355 w 123825"/>
                <a:gd name="connsiteY0" fmla="*/ 189624 h 190500"/>
                <a:gd name="connsiteX1" fmla="*/ 97355 w 123825"/>
                <a:gd name="connsiteY1" fmla="*/ 180070 h 190500"/>
                <a:gd name="connsiteX2" fmla="*/ 62199 w 123825"/>
                <a:gd name="connsiteY2" fmla="*/ 192043 h 190500"/>
                <a:gd name="connsiteX3" fmla="*/ 22403 w 123825"/>
                <a:gd name="connsiteY3" fmla="*/ 174631 h 190500"/>
                <a:gd name="connsiteX4" fmla="*/ 7144 w 123825"/>
                <a:gd name="connsiteY4" fmla="*/ 128197 h 190500"/>
                <a:gd name="connsiteX5" fmla="*/ 24727 w 123825"/>
                <a:gd name="connsiteY5" fmla="*/ 78429 h 190500"/>
                <a:gd name="connsiteX6" fmla="*/ 66599 w 123825"/>
                <a:gd name="connsiteY6" fmla="*/ 57817 h 190500"/>
                <a:gd name="connsiteX7" fmla="*/ 97365 w 123825"/>
                <a:gd name="connsiteY7" fmla="*/ 67246 h 190500"/>
                <a:gd name="connsiteX8" fmla="*/ 97365 w 123825"/>
                <a:gd name="connsiteY8" fmla="*/ 7144 h 190500"/>
                <a:gd name="connsiteX9" fmla="*/ 120558 w 123825"/>
                <a:gd name="connsiteY9" fmla="*/ 7144 h 190500"/>
                <a:gd name="connsiteX10" fmla="*/ 120558 w 123825"/>
                <a:gd name="connsiteY10" fmla="*/ 189614 h 190500"/>
                <a:gd name="connsiteX11" fmla="*/ 97355 w 123825"/>
                <a:gd name="connsiteY11" fmla="*/ 189614 h 190500"/>
                <a:gd name="connsiteX12" fmla="*/ 97355 w 123825"/>
                <a:gd name="connsiteY12" fmla="*/ 90230 h 190500"/>
                <a:gd name="connsiteX13" fmla="*/ 73305 w 123825"/>
                <a:gd name="connsiteY13" fmla="*/ 77172 h 190500"/>
                <a:gd name="connsiteX14" fmla="*/ 43091 w 123825"/>
                <a:gd name="connsiteY14" fmla="*/ 90954 h 190500"/>
                <a:gd name="connsiteX15" fmla="*/ 31547 w 123825"/>
                <a:gd name="connsiteY15" fmla="*/ 126025 h 190500"/>
                <a:gd name="connsiteX16" fmla="*/ 74524 w 123825"/>
                <a:gd name="connsiteY16" fmla="*/ 172822 h 190500"/>
                <a:gd name="connsiteX17" fmla="*/ 87706 w 123825"/>
                <a:gd name="connsiteY17" fmla="*/ 169374 h 190500"/>
                <a:gd name="connsiteX18" fmla="*/ 97355 w 123825"/>
                <a:gd name="connsiteY18" fmla="*/ 162058 h 190500"/>
                <a:gd name="connsiteX19" fmla="*/ 97355 w 123825"/>
                <a:gd name="connsiteY19" fmla="*/ 9023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825" h="190500">
                  <a:moveTo>
                    <a:pt x="97355" y="189624"/>
                  </a:moveTo>
                  <a:lnTo>
                    <a:pt x="97355" y="180070"/>
                  </a:lnTo>
                  <a:cubicBezTo>
                    <a:pt x="89297" y="188052"/>
                    <a:pt x="77581" y="192043"/>
                    <a:pt x="62199" y="192043"/>
                  </a:cubicBezTo>
                  <a:cubicBezTo>
                    <a:pt x="45844" y="192043"/>
                    <a:pt x="32566" y="186242"/>
                    <a:pt x="22403" y="174631"/>
                  </a:cubicBezTo>
                  <a:cubicBezTo>
                    <a:pt x="12240" y="163020"/>
                    <a:pt x="7144" y="147542"/>
                    <a:pt x="7144" y="128197"/>
                  </a:cubicBezTo>
                  <a:cubicBezTo>
                    <a:pt x="7144" y="108775"/>
                    <a:pt x="13002" y="92183"/>
                    <a:pt x="24727" y="78429"/>
                  </a:cubicBezTo>
                  <a:cubicBezTo>
                    <a:pt x="36443" y="64694"/>
                    <a:pt x="50397" y="57817"/>
                    <a:pt x="66599" y="57817"/>
                  </a:cubicBezTo>
                  <a:cubicBezTo>
                    <a:pt x="80115" y="57817"/>
                    <a:pt x="90364" y="60960"/>
                    <a:pt x="97365" y="67246"/>
                  </a:cubicBezTo>
                  <a:lnTo>
                    <a:pt x="97365" y="7144"/>
                  </a:lnTo>
                  <a:lnTo>
                    <a:pt x="120558" y="7144"/>
                  </a:lnTo>
                  <a:lnTo>
                    <a:pt x="120558" y="189614"/>
                  </a:lnTo>
                  <a:lnTo>
                    <a:pt x="97355" y="189614"/>
                  </a:lnTo>
                  <a:close/>
                  <a:moveTo>
                    <a:pt x="97355" y="90230"/>
                  </a:moveTo>
                  <a:cubicBezTo>
                    <a:pt x="91497" y="81525"/>
                    <a:pt x="83477" y="77172"/>
                    <a:pt x="73305" y="77172"/>
                  </a:cubicBezTo>
                  <a:cubicBezTo>
                    <a:pt x="60855" y="77172"/>
                    <a:pt x="50778" y="81763"/>
                    <a:pt x="43091" y="90954"/>
                  </a:cubicBezTo>
                  <a:cubicBezTo>
                    <a:pt x="35395" y="100146"/>
                    <a:pt x="31547" y="111824"/>
                    <a:pt x="31547" y="126025"/>
                  </a:cubicBezTo>
                  <a:cubicBezTo>
                    <a:pt x="31547" y="157220"/>
                    <a:pt x="45872" y="172822"/>
                    <a:pt x="74524" y="172822"/>
                  </a:cubicBezTo>
                  <a:cubicBezTo>
                    <a:pt x="78181" y="172822"/>
                    <a:pt x="82582" y="171679"/>
                    <a:pt x="87706" y="169374"/>
                  </a:cubicBezTo>
                  <a:cubicBezTo>
                    <a:pt x="92831" y="167088"/>
                    <a:pt x="96050" y="164649"/>
                    <a:pt x="97355" y="162058"/>
                  </a:cubicBezTo>
                  <a:lnTo>
                    <a:pt x="97355" y="90230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1296E9EE-1918-4E0A-9F01-F0A93C949143}"/>
                </a:ext>
              </a:extLst>
            </p:cNvPr>
            <p:cNvSpPr/>
            <p:nvPr/>
          </p:nvSpPr>
          <p:spPr>
            <a:xfrm>
              <a:off x="2428087" y="3174813"/>
              <a:ext cx="161925" cy="238125"/>
            </a:xfrm>
            <a:custGeom>
              <a:avLst/>
              <a:gdLst>
                <a:gd name="connsiteX0" fmla="*/ 7144 w 161925"/>
                <a:gd name="connsiteY0" fmla="*/ 217989 h 238125"/>
                <a:gd name="connsiteX1" fmla="*/ 21717 w 161925"/>
                <a:gd name="connsiteY1" fmla="*/ 181032 h 238125"/>
                <a:gd name="connsiteX2" fmla="*/ 77400 w 161925"/>
                <a:gd name="connsiteY2" fmla="*/ 202378 h 238125"/>
                <a:gd name="connsiteX3" fmla="*/ 115691 w 161925"/>
                <a:gd name="connsiteY3" fmla="*/ 172002 h 238125"/>
                <a:gd name="connsiteX4" fmla="*/ 78715 w 161925"/>
                <a:gd name="connsiteY4" fmla="*/ 134636 h 238125"/>
                <a:gd name="connsiteX5" fmla="*/ 40319 w 161925"/>
                <a:gd name="connsiteY5" fmla="*/ 115957 h 238125"/>
                <a:gd name="connsiteX6" fmla="*/ 23136 w 161925"/>
                <a:gd name="connsiteY6" fmla="*/ 101479 h 238125"/>
                <a:gd name="connsiteX7" fmla="*/ 12259 w 161925"/>
                <a:gd name="connsiteY7" fmla="*/ 84230 h 238125"/>
                <a:gd name="connsiteX8" fmla="*/ 8677 w 161925"/>
                <a:gd name="connsiteY8" fmla="*/ 64627 h 238125"/>
                <a:gd name="connsiteX9" fmla="*/ 29556 w 161925"/>
                <a:gd name="connsiteY9" fmla="*/ 22346 h 238125"/>
                <a:gd name="connsiteX10" fmla="*/ 84153 w 161925"/>
                <a:gd name="connsiteY10" fmla="*/ 7144 h 238125"/>
                <a:gd name="connsiteX11" fmla="*/ 148323 w 161925"/>
                <a:gd name="connsiteY11" fmla="*/ 22346 h 238125"/>
                <a:gd name="connsiteX12" fmla="*/ 136579 w 161925"/>
                <a:gd name="connsiteY12" fmla="*/ 58474 h 238125"/>
                <a:gd name="connsiteX13" fmla="*/ 87201 w 161925"/>
                <a:gd name="connsiteY13" fmla="*/ 40005 h 238125"/>
                <a:gd name="connsiteX14" fmla="*/ 62293 w 161925"/>
                <a:gd name="connsiteY14" fmla="*/ 46568 h 238125"/>
                <a:gd name="connsiteX15" fmla="*/ 52178 w 161925"/>
                <a:gd name="connsiteY15" fmla="*/ 63189 h 238125"/>
                <a:gd name="connsiteX16" fmla="*/ 77629 w 161925"/>
                <a:gd name="connsiteY16" fmla="*/ 95212 h 238125"/>
                <a:gd name="connsiteX17" fmla="*/ 107213 w 161925"/>
                <a:gd name="connsiteY17" fmla="*/ 107937 h 238125"/>
                <a:gd name="connsiteX18" fmla="*/ 146799 w 161925"/>
                <a:gd name="connsiteY18" fmla="*/ 134626 h 238125"/>
                <a:gd name="connsiteX19" fmla="*/ 159201 w 161925"/>
                <a:gd name="connsiteY19" fmla="*/ 172193 h 238125"/>
                <a:gd name="connsiteX20" fmla="*/ 137227 w 161925"/>
                <a:gd name="connsiteY20" fmla="*/ 218484 h 238125"/>
                <a:gd name="connsiteX21" fmla="*/ 76314 w 161925"/>
                <a:gd name="connsiteY21" fmla="*/ 235210 h 238125"/>
                <a:gd name="connsiteX22" fmla="*/ 7144 w 161925"/>
                <a:gd name="connsiteY22" fmla="*/ 217989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1925" h="238125">
                  <a:moveTo>
                    <a:pt x="7144" y="217989"/>
                  </a:moveTo>
                  <a:lnTo>
                    <a:pt x="21717" y="181032"/>
                  </a:lnTo>
                  <a:cubicBezTo>
                    <a:pt x="44777" y="195263"/>
                    <a:pt x="63341" y="202378"/>
                    <a:pt x="77400" y="202378"/>
                  </a:cubicBezTo>
                  <a:cubicBezTo>
                    <a:pt x="102927" y="202378"/>
                    <a:pt x="115691" y="192253"/>
                    <a:pt x="115691" y="172002"/>
                  </a:cubicBezTo>
                  <a:cubicBezTo>
                    <a:pt x="115691" y="157505"/>
                    <a:pt x="103365" y="145047"/>
                    <a:pt x="78715" y="134636"/>
                  </a:cubicBezTo>
                  <a:cubicBezTo>
                    <a:pt x="59712" y="126435"/>
                    <a:pt x="46920" y="120196"/>
                    <a:pt x="40319" y="115957"/>
                  </a:cubicBezTo>
                  <a:cubicBezTo>
                    <a:pt x="33718" y="111719"/>
                    <a:pt x="27994" y="106899"/>
                    <a:pt x="23136" y="101479"/>
                  </a:cubicBezTo>
                  <a:cubicBezTo>
                    <a:pt x="18278" y="96079"/>
                    <a:pt x="14649" y="90326"/>
                    <a:pt x="12259" y="84230"/>
                  </a:cubicBezTo>
                  <a:cubicBezTo>
                    <a:pt x="9868" y="78143"/>
                    <a:pt x="8677" y="71609"/>
                    <a:pt x="8677" y="64627"/>
                  </a:cubicBezTo>
                  <a:cubicBezTo>
                    <a:pt x="8677" y="46568"/>
                    <a:pt x="15631" y="32471"/>
                    <a:pt x="29556" y="22346"/>
                  </a:cubicBezTo>
                  <a:cubicBezTo>
                    <a:pt x="43472" y="12221"/>
                    <a:pt x="61674" y="7144"/>
                    <a:pt x="84153" y="7144"/>
                  </a:cubicBezTo>
                  <a:cubicBezTo>
                    <a:pt x="101117" y="7144"/>
                    <a:pt x="122511" y="12211"/>
                    <a:pt x="148323" y="22346"/>
                  </a:cubicBezTo>
                  <a:lnTo>
                    <a:pt x="136579" y="58474"/>
                  </a:lnTo>
                  <a:cubicBezTo>
                    <a:pt x="120186" y="46158"/>
                    <a:pt x="103737" y="40005"/>
                    <a:pt x="87201" y="40005"/>
                  </a:cubicBezTo>
                  <a:cubicBezTo>
                    <a:pt x="77333" y="40005"/>
                    <a:pt x="69037" y="42186"/>
                    <a:pt x="62293" y="46568"/>
                  </a:cubicBezTo>
                  <a:cubicBezTo>
                    <a:pt x="55550" y="50949"/>
                    <a:pt x="52178" y="56493"/>
                    <a:pt x="52178" y="63189"/>
                  </a:cubicBezTo>
                  <a:cubicBezTo>
                    <a:pt x="52178" y="77286"/>
                    <a:pt x="60665" y="87963"/>
                    <a:pt x="77629" y="95212"/>
                  </a:cubicBezTo>
                  <a:lnTo>
                    <a:pt x="107213" y="107937"/>
                  </a:lnTo>
                  <a:cubicBezTo>
                    <a:pt x="125339" y="115738"/>
                    <a:pt x="138541" y="124644"/>
                    <a:pt x="146799" y="134626"/>
                  </a:cubicBezTo>
                  <a:cubicBezTo>
                    <a:pt x="155067" y="144628"/>
                    <a:pt x="159201" y="157143"/>
                    <a:pt x="159201" y="172193"/>
                  </a:cubicBezTo>
                  <a:cubicBezTo>
                    <a:pt x="159201" y="191900"/>
                    <a:pt x="151876" y="207331"/>
                    <a:pt x="137227" y="218484"/>
                  </a:cubicBezTo>
                  <a:cubicBezTo>
                    <a:pt x="122577" y="229638"/>
                    <a:pt x="102279" y="235210"/>
                    <a:pt x="76314" y="235210"/>
                  </a:cubicBezTo>
                  <a:cubicBezTo>
                    <a:pt x="51816" y="235229"/>
                    <a:pt x="28756" y="229476"/>
                    <a:pt x="7144" y="217989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940358D1-302A-4428-A544-EBDDC5A07249}"/>
                </a:ext>
              </a:extLst>
            </p:cNvPr>
            <p:cNvSpPr/>
            <p:nvPr/>
          </p:nvSpPr>
          <p:spPr>
            <a:xfrm>
              <a:off x="2614139" y="3117968"/>
              <a:ext cx="161925" cy="295275"/>
            </a:xfrm>
            <a:custGeom>
              <a:avLst/>
              <a:gdLst>
                <a:gd name="connsiteX0" fmla="*/ 34119 w 161925"/>
                <a:gd name="connsiteY0" fmla="*/ 98898 h 295275"/>
                <a:gd name="connsiteX1" fmla="*/ 7144 w 161925"/>
                <a:gd name="connsiteY1" fmla="*/ 98898 h 295275"/>
                <a:gd name="connsiteX2" fmla="*/ 7144 w 161925"/>
                <a:gd name="connsiteY2" fmla="*/ 68113 h 295275"/>
                <a:gd name="connsiteX3" fmla="*/ 34119 w 161925"/>
                <a:gd name="connsiteY3" fmla="*/ 68113 h 295275"/>
                <a:gd name="connsiteX4" fmla="*/ 34119 w 161925"/>
                <a:gd name="connsiteY4" fmla="*/ 22127 h 295275"/>
                <a:gd name="connsiteX5" fmla="*/ 75448 w 161925"/>
                <a:gd name="connsiteY5" fmla="*/ 7144 h 295275"/>
                <a:gd name="connsiteX6" fmla="*/ 75448 w 161925"/>
                <a:gd name="connsiteY6" fmla="*/ 68113 h 295275"/>
                <a:gd name="connsiteX7" fmla="*/ 139398 w 161925"/>
                <a:gd name="connsiteY7" fmla="*/ 68113 h 295275"/>
                <a:gd name="connsiteX8" fmla="*/ 139398 w 161925"/>
                <a:gd name="connsiteY8" fmla="*/ 98898 h 295275"/>
                <a:gd name="connsiteX9" fmla="*/ 75448 w 161925"/>
                <a:gd name="connsiteY9" fmla="*/ 98898 h 295275"/>
                <a:gd name="connsiteX10" fmla="*/ 75448 w 161925"/>
                <a:gd name="connsiteY10" fmla="*/ 208112 h 295275"/>
                <a:gd name="connsiteX11" fmla="*/ 85344 w 161925"/>
                <a:gd name="connsiteY11" fmla="*/ 247526 h 295275"/>
                <a:gd name="connsiteX12" fmla="*/ 117215 w 161925"/>
                <a:gd name="connsiteY12" fmla="*/ 259232 h 295275"/>
                <a:gd name="connsiteX13" fmla="*/ 150066 w 161925"/>
                <a:gd name="connsiteY13" fmla="*/ 251641 h 295275"/>
                <a:gd name="connsiteX14" fmla="*/ 156153 w 161925"/>
                <a:gd name="connsiteY14" fmla="*/ 285922 h 295275"/>
                <a:gd name="connsiteX15" fmla="*/ 99812 w 161925"/>
                <a:gd name="connsiteY15" fmla="*/ 292075 h 295275"/>
                <a:gd name="connsiteX16" fmla="*/ 53150 w 161925"/>
                <a:gd name="connsiteY16" fmla="*/ 272682 h 295275"/>
                <a:gd name="connsiteX17" fmla="*/ 34119 w 161925"/>
                <a:gd name="connsiteY17" fmla="*/ 223714 h 295275"/>
                <a:gd name="connsiteX18" fmla="*/ 34119 w 161925"/>
                <a:gd name="connsiteY18" fmla="*/ 98898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295275">
                  <a:moveTo>
                    <a:pt x="34119" y="98898"/>
                  </a:moveTo>
                  <a:lnTo>
                    <a:pt x="7144" y="98898"/>
                  </a:lnTo>
                  <a:lnTo>
                    <a:pt x="7144" y="68113"/>
                  </a:lnTo>
                  <a:lnTo>
                    <a:pt x="34119" y="68113"/>
                  </a:lnTo>
                  <a:lnTo>
                    <a:pt x="34119" y="22127"/>
                  </a:lnTo>
                  <a:lnTo>
                    <a:pt x="75448" y="7144"/>
                  </a:lnTo>
                  <a:lnTo>
                    <a:pt x="75448" y="68113"/>
                  </a:lnTo>
                  <a:lnTo>
                    <a:pt x="139398" y="68113"/>
                  </a:lnTo>
                  <a:lnTo>
                    <a:pt x="139398" y="98898"/>
                  </a:lnTo>
                  <a:lnTo>
                    <a:pt x="75448" y="98898"/>
                  </a:lnTo>
                  <a:lnTo>
                    <a:pt x="75448" y="208112"/>
                  </a:lnTo>
                  <a:cubicBezTo>
                    <a:pt x="75448" y="226581"/>
                    <a:pt x="78743" y="239725"/>
                    <a:pt x="85344" y="247526"/>
                  </a:cubicBezTo>
                  <a:cubicBezTo>
                    <a:pt x="91945" y="255327"/>
                    <a:pt x="102565" y="259232"/>
                    <a:pt x="117215" y="259232"/>
                  </a:cubicBezTo>
                  <a:cubicBezTo>
                    <a:pt x="127797" y="259232"/>
                    <a:pt x="138751" y="256699"/>
                    <a:pt x="150066" y="251641"/>
                  </a:cubicBezTo>
                  <a:lnTo>
                    <a:pt x="156153" y="285922"/>
                  </a:lnTo>
                  <a:cubicBezTo>
                    <a:pt x="139046" y="290036"/>
                    <a:pt x="120263" y="292075"/>
                    <a:pt x="99812" y="292075"/>
                  </a:cubicBezTo>
                  <a:cubicBezTo>
                    <a:pt x="81391" y="292075"/>
                    <a:pt x="65837" y="285607"/>
                    <a:pt x="53150" y="272682"/>
                  </a:cubicBezTo>
                  <a:cubicBezTo>
                    <a:pt x="40453" y="259747"/>
                    <a:pt x="34119" y="243430"/>
                    <a:pt x="34119" y="223714"/>
                  </a:cubicBezTo>
                  <a:lnTo>
                    <a:pt x="34119" y="98898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7557BEC3-C7CA-4FAE-B724-BD0460256CBB}"/>
                </a:ext>
              </a:extLst>
            </p:cNvPr>
            <p:cNvSpPr/>
            <p:nvPr/>
          </p:nvSpPr>
          <p:spPr>
            <a:xfrm>
              <a:off x="2808878" y="3174823"/>
              <a:ext cx="152400" cy="238125"/>
            </a:xfrm>
            <a:custGeom>
              <a:avLst/>
              <a:gdLst>
                <a:gd name="connsiteX0" fmla="*/ 130483 w 152400"/>
                <a:gd name="connsiteY0" fmla="*/ 48816 h 238125"/>
                <a:gd name="connsiteX1" fmla="*/ 103299 w 152400"/>
                <a:gd name="connsiteY1" fmla="*/ 39995 h 238125"/>
                <a:gd name="connsiteX2" fmla="*/ 64903 w 152400"/>
                <a:gd name="connsiteY2" fmla="*/ 59083 h 238125"/>
                <a:gd name="connsiteX3" fmla="*/ 48473 w 152400"/>
                <a:gd name="connsiteY3" fmla="*/ 105061 h 238125"/>
                <a:gd name="connsiteX4" fmla="*/ 48473 w 152400"/>
                <a:gd name="connsiteY4" fmla="*/ 231105 h 238125"/>
                <a:gd name="connsiteX5" fmla="*/ 7144 w 152400"/>
                <a:gd name="connsiteY5" fmla="*/ 231105 h 238125"/>
                <a:gd name="connsiteX6" fmla="*/ 7144 w 152400"/>
                <a:gd name="connsiteY6" fmla="*/ 11249 h 238125"/>
                <a:gd name="connsiteX7" fmla="*/ 48473 w 152400"/>
                <a:gd name="connsiteY7" fmla="*/ 11249 h 238125"/>
                <a:gd name="connsiteX8" fmla="*/ 48473 w 152400"/>
                <a:gd name="connsiteY8" fmla="*/ 46358 h 238125"/>
                <a:gd name="connsiteX9" fmla="*/ 115691 w 152400"/>
                <a:gd name="connsiteY9" fmla="*/ 7144 h 238125"/>
                <a:gd name="connsiteX10" fmla="*/ 147666 w 152400"/>
                <a:gd name="connsiteY10" fmla="*/ 10849 h 238125"/>
                <a:gd name="connsiteX11" fmla="*/ 130483 w 152400"/>
                <a:gd name="connsiteY11" fmla="*/ 48816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2400" h="238125">
                  <a:moveTo>
                    <a:pt x="130483" y="48816"/>
                  </a:moveTo>
                  <a:cubicBezTo>
                    <a:pt x="121491" y="42939"/>
                    <a:pt x="112424" y="39995"/>
                    <a:pt x="103299" y="39995"/>
                  </a:cubicBezTo>
                  <a:cubicBezTo>
                    <a:pt x="88649" y="39995"/>
                    <a:pt x="75848" y="46358"/>
                    <a:pt x="64903" y="59083"/>
                  </a:cubicBezTo>
                  <a:cubicBezTo>
                    <a:pt x="53950" y="71809"/>
                    <a:pt x="48473" y="87135"/>
                    <a:pt x="48473" y="105061"/>
                  </a:cubicBezTo>
                  <a:lnTo>
                    <a:pt x="48473" y="231105"/>
                  </a:lnTo>
                  <a:lnTo>
                    <a:pt x="7144" y="231105"/>
                  </a:lnTo>
                  <a:lnTo>
                    <a:pt x="7144" y="11249"/>
                  </a:lnTo>
                  <a:lnTo>
                    <a:pt x="48473" y="11249"/>
                  </a:lnTo>
                  <a:lnTo>
                    <a:pt x="48473" y="46358"/>
                  </a:lnTo>
                  <a:cubicBezTo>
                    <a:pt x="63551" y="20221"/>
                    <a:pt x="85963" y="7144"/>
                    <a:pt x="115691" y="7144"/>
                  </a:cubicBezTo>
                  <a:cubicBezTo>
                    <a:pt x="123082" y="7144"/>
                    <a:pt x="133750" y="8382"/>
                    <a:pt x="147666" y="10849"/>
                  </a:cubicBezTo>
                  <a:lnTo>
                    <a:pt x="130483" y="48816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9CE7BF76-40A3-4F9B-9C17-107416A3DEF0}"/>
                </a:ext>
              </a:extLst>
            </p:cNvPr>
            <p:cNvSpPr/>
            <p:nvPr/>
          </p:nvSpPr>
          <p:spPr>
            <a:xfrm>
              <a:off x="2969488" y="3174813"/>
              <a:ext cx="209550" cy="238125"/>
            </a:xfrm>
            <a:custGeom>
              <a:avLst/>
              <a:gdLst>
                <a:gd name="connsiteX0" fmla="*/ 150705 w 209550"/>
                <a:gd name="connsiteY0" fmla="*/ 205873 h 238125"/>
                <a:gd name="connsiteX1" fmla="*/ 74790 w 209550"/>
                <a:gd name="connsiteY1" fmla="*/ 235229 h 238125"/>
                <a:gd name="connsiteX2" fmla="*/ 27261 w 209550"/>
                <a:gd name="connsiteY2" fmla="*/ 216446 h 238125"/>
                <a:gd name="connsiteX3" fmla="*/ 7144 w 209550"/>
                <a:gd name="connsiteY3" fmla="*/ 169745 h 238125"/>
                <a:gd name="connsiteX4" fmla="*/ 38138 w 209550"/>
                <a:gd name="connsiteY4" fmla="*/ 113186 h 238125"/>
                <a:gd name="connsiteX5" fmla="*/ 117205 w 209550"/>
                <a:gd name="connsiteY5" fmla="*/ 90088 h 238125"/>
                <a:gd name="connsiteX6" fmla="*/ 146790 w 209550"/>
                <a:gd name="connsiteY6" fmla="*/ 95431 h 238125"/>
                <a:gd name="connsiteX7" fmla="*/ 96326 w 209550"/>
                <a:gd name="connsiteY7" fmla="*/ 42053 h 238125"/>
                <a:gd name="connsiteX8" fmla="*/ 36728 w 209550"/>
                <a:gd name="connsiteY8" fmla="*/ 61760 h 238125"/>
                <a:gd name="connsiteX9" fmla="*/ 19326 w 209550"/>
                <a:gd name="connsiteY9" fmla="*/ 29118 h 238125"/>
                <a:gd name="connsiteX10" fmla="*/ 51845 w 209550"/>
                <a:gd name="connsiteY10" fmla="*/ 13621 h 238125"/>
                <a:gd name="connsiteX11" fmla="*/ 91545 w 209550"/>
                <a:gd name="connsiteY11" fmla="*/ 7144 h 238125"/>
                <a:gd name="connsiteX12" fmla="*/ 165173 w 209550"/>
                <a:gd name="connsiteY12" fmla="*/ 28908 h 238125"/>
                <a:gd name="connsiteX13" fmla="*/ 188128 w 209550"/>
                <a:gd name="connsiteY13" fmla="*/ 98088 h 238125"/>
                <a:gd name="connsiteX14" fmla="*/ 188128 w 209550"/>
                <a:gd name="connsiteY14" fmla="*/ 176917 h 238125"/>
                <a:gd name="connsiteX15" fmla="*/ 206397 w 209550"/>
                <a:gd name="connsiteY15" fmla="*/ 215513 h 238125"/>
                <a:gd name="connsiteX16" fmla="*/ 206397 w 209550"/>
                <a:gd name="connsiteY16" fmla="*/ 235010 h 238125"/>
                <a:gd name="connsiteX17" fmla="*/ 168659 w 209550"/>
                <a:gd name="connsiteY17" fmla="*/ 228238 h 238125"/>
                <a:gd name="connsiteX18" fmla="*/ 150705 w 209550"/>
                <a:gd name="connsiteY18" fmla="*/ 205873 h 238125"/>
                <a:gd name="connsiteX19" fmla="*/ 146790 w 209550"/>
                <a:gd name="connsiteY19" fmla="*/ 123149 h 238125"/>
                <a:gd name="connsiteX20" fmla="*/ 119386 w 209550"/>
                <a:gd name="connsiteY20" fmla="*/ 119034 h 238125"/>
                <a:gd name="connsiteX21" fmla="*/ 68266 w 209550"/>
                <a:gd name="connsiteY21" fmla="*/ 134226 h 238125"/>
                <a:gd name="connsiteX22" fmla="*/ 48473 w 209550"/>
                <a:gd name="connsiteY22" fmla="*/ 170145 h 238125"/>
                <a:gd name="connsiteX23" fmla="*/ 91326 w 209550"/>
                <a:gd name="connsiteY23" fmla="*/ 204435 h 238125"/>
                <a:gd name="connsiteX24" fmla="*/ 146799 w 209550"/>
                <a:gd name="connsiteY24" fmla="*/ 176317 h 238125"/>
                <a:gd name="connsiteX25" fmla="*/ 146799 w 209550"/>
                <a:gd name="connsiteY25" fmla="*/ 123149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9550" h="238125">
                  <a:moveTo>
                    <a:pt x="150705" y="205873"/>
                  </a:moveTo>
                  <a:cubicBezTo>
                    <a:pt x="134169" y="225457"/>
                    <a:pt x="108861" y="235229"/>
                    <a:pt x="74790" y="235229"/>
                  </a:cubicBezTo>
                  <a:cubicBezTo>
                    <a:pt x="56521" y="235229"/>
                    <a:pt x="40672" y="228971"/>
                    <a:pt x="27261" y="216446"/>
                  </a:cubicBezTo>
                  <a:cubicBezTo>
                    <a:pt x="13849" y="203921"/>
                    <a:pt x="7144" y="188357"/>
                    <a:pt x="7144" y="169745"/>
                  </a:cubicBezTo>
                  <a:cubicBezTo>
                    <a:pt x="7144" y="147438"/>
                    <a:pt x="17469" y="128588"/>
                    <a:pt x="38138" y="113186"/>
                  </a:cubicBezTo>
                  <a:cubicBezTo>
                    <a:pt x="58798" y="97793"/>
                    <a:pt x="85163" y="90088"/>
                    <a:pt x="117205" y="90088"/>
                  </a:cubicBezTo>
                  <a:cubicBezTo>
                    <a:pt x="125911" y="90088"/>
                    <a:pt x="135769" y="91878"/>
                    <a:pt x="146790" y="95431"/>
                  </a:cubicBezTo>
                  <a:cubicBezTo>
                    <a:pt x="146790" y="59855"/>
                    <a:pt x="129959" y="42053"/>
                    <a:pt x="96326" y="42053"/>
                  </a:cubicBezTo>
                  <a:cubicBezTo>
                    <a:pt x="70514" y="42053"/>
                    <a:pt x="50644" y="48616"/>
                    <a:pt x="36728" y="61760"/>
                  </a:cubicBezTo>
                  <a:lnTo>
                    <a:pt x="19326" y="29118"/>
                  </a:lnTo>
                  <a:cubicBezTo>
                    <a:pt x="27156" y="23098"/>
                    <a:pt x="37995" y="17926"/>
                    <a:pt x="51845" y="13621"/>
                  </a:cubicBezTo>
                  <a:cubicBezTo>
                    <a:pt x="65694" y="9306"/>
                    <a:pt x="78924" y="7144"/>
                    <a:pt x="91545" y="7144"/>
                  </a:cubicBezTo>
                  <a:cubicBezTo>
                    <a:pt x="125330" y="7144"/>
                    <a:pt x="149876" y="14402"/>
                    <a:pt x="165173" y="28908"/>
                  </a:cubicBezTo>
                  <a:cubicBezTo>
                    <a:pt x="180470" y="43405"/>
                    <a:pt x="188128" y="66465"/>
                    <a:pt x="188128" y="98088"/>
                  </a:cubicBezTo>
                  <a:lnTo>
                    <a:pt x="188128" y="176917"/>
                  </a:lnTo>
                  <a:cubicBezTo>
                    <a:pt x="188128" y="196205"/>
                    <a:pt x="194215" y="209074"/>
                    <a:pt x="206397" y="215513"/>
                  </a:cubicBezTo>
                  <a:lnTo>
                    <a:pt x="206397" y="235010"/>
                  </a:lnTo>
                  <a:cubicBezTo>
                    <a:pt x="189576" y="235010"/>
                    <a:pt x="176994" y="232762"/>
                    <a:pt x="168659" y="228238"/>
                  </a:cubicBezTo>
                  <a:cubicBezTo>
                    <a:pt x="160315" y="223742"/>
                    <a:pt x="154334" y="216275"/>
                    <a:pt x="150705" y="205873"/>
                  </a:cubicBezTo>
                  <a:close/>
                  <a:moveTo>
                    <a:pt x="146790" y="123149"/>
                  </a:moveTo>
                  <a:cubicBezTo>
                    <a:pt x="133741" y="120406"/>
                    <a:pt x="124596" y="119034"/>
                    <a:pt x="119386" y="119034"/>
                  </a:cubicBezTo>
                  <a:cubicBezTo>
                    <a:pt x="98508" y="119034"/>
                    <a:pt x="81458" y="124101"/>
                    <a:pt x="68266" y="134226"/>
                  </a:cubicBezTo>
                  <a:cubicBezTo>
                    <a:pt x="55074" y="144351"/>
                    <a:pt x="48473" y="156334"/>
                    <a:pt x="48473" y="170145"/>
                  </a:cubicBezTo>
                  <a:cubicBezTo>
                    <a:pt x="48473" y="193005"/>
                    <a:pt x="62760" y="204435"/>
                    <a:pt x="91326" y="204435"/>
                  </a:cubicBezTo>
                  <a:cubicBezTo>
                    <a:pt x="112204" y="204435"/>
                    <a:pt x="130702" y="195063"/>
                    <a:pt x="146799" y="176317"/>
                  </a:cubicBezTo>
                  <a:lnTo>
                    <a:pt x="146799" y="123149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B246315D-379A-46AC-8B2A-DD098BD0DBF7}"/>
                </a:ext>
              </a:extLst>
            </p:cNvPr>
            <p:cNvSpPr/>
            <p:nvPr/>
          </p:nvSpPr>
          <p:spPr>
            <a:xfrm>
              <a:off x="3206003" y="3117968"/>
              <a:ext cx="161925" cy="295275"/>
            </a:xfrm>
            <a:custGeom>
              <a:avLst/>
              <a:gdLst>
                <a:gd name="connsiteX0" fmla="*/ 34119 w 161925"/>
                <a:gd name="connsiteY0" fmla="*/ 98898 h 295275"/>
                <a:gd name="connsiteX1" fmla="*/ 7144 w 161925"/>
                <a:gd name="connsiteY1" fmla="*/ 98898 h 295275"/>
                <a:gd name="connsiteX2" fmla="*/ 7144 w 161925"/>
                <a:gd name="connsiteY2" fmla="*/ 68113 h 295275"/>
                <a:gd name="connsiteX3" fmla="*/ 34119 w 161925"/>
                <a:gd name="connsiteY3" fmla="*/ 68113 h 295275"/>
                <a:gd name="connsiteX4" fmla="*/ 34119 w 161925"/>
                <a:gd name="connsiteY4" fmla="*/ 22127 h 295275"/>
                <a:gd name="connsiteX5" fmla="*/ 75448 w 161925"/>
                <a:gd name="connsiteY5" fmla="*/ 7144 h 295275"/>
                <a:gd name="connsiteX6" fmla="*/ 75448 w 161925"/>
                <a:gd name="connsiteY6" fmla="*/ 68113 h 295275"/>
                <a:gd name="connsiteX7" fmla="*/ 139398 w 161925"/>
                <a:gd name="connsiteY7" fmla="*/ 68113 h 295275"/>
                <a:gd name="connsiteX8" fmla="*/ 139398 w 161925"/>
                <a:gd name="connsiteY8" fmla="*/ 98898 h 295275"/>
                <a:gd name="connsiteX9" fmla="*/ 75448 w 161925"/>
                <a:gd name="connsiteY9" fmla="*/ 98898 h 295275"/>
                <a:gd name="connsiteX10" fmla="*/ 75448 w 161925"/>
                <a:gd name="connsiteY10" fmla="*/ 208112 h 295275"/>
                <a:gd name="connsiteX11" fmla="*/ 85344 w 161925"/>
                <a:gd name="connsiteY11" fmla="*/ 247526 h 295275"/>
                <a:gd name="connsiteX12" fmla="*/ 117215 w 161925"/>
                <a:gd name="connsiteY12" fmla="*/ 259232 h 295275"/>
                <a:gd name="connsiteX13" fmla="*/ 150066 w 161925"/>
                <a:gd name="connsiteY13" fmla="*/ 251641 h 295275"/>
                <a:gd name="connsiteX14" fmla="*/ 156153 w 161925"/>
                <a:gd name="connsiteY14" fmla="*/ 285922 h 295275"/>
                <a:gd name="connsiteX15" fmla="*/ 99813 w 161925"/>
                <a:gd name="connsiteY15" fmla="*/ 292075 h 295275"/>
                <a:gd name="connsiteX16" fmla="*/ 53150 w 161925"/>
                <a:gd name="connsiteY16" fmla="*/ 272682 h 295275"/>
                <a:gd name="connsiteX17" fmla="*/ 34119 w 161925"/>
                <a:gd name="connsiteY17" fmla="*/ 223714 h 295275"/>
                <a:gd name="connsiteX18" fmla="*/ 34119 w 161925"/>
                <a:gd name="connsiteY18" fmla="*/ 98898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295275">
                  <a:moveTo>
                    <a:pt x="34119" y="98898"/>
                  </a:moveTo>
                  <a:lnTo>
                    <a:pt x="7144" y="98898"/>
                  </a:lnTo>
                  <a:lnTo>
                    <a:pt x="7144" y="68113"/>
                  </a:lnTo>
                  <a:lnTo>
                    <a:pt x="34119" y="68113"/>
                  </a:lnTo>
                  <a:lnTo>
                    <a:pt x="34119" y="22127"/>
                  </a:lnTo>
                  <a:lnTo>
                    <a:pt x="75448" y="7144"/>
                  </a:lnTo>
                  <a:lnTo>
                    <a:pt x="75448" y="68113"/>
                  </a:lnTo>
                  <a:lnTo>
                    <a:pt x="139398" y="68113"/>
                  </a:lnTo>
                  <a:lnTo>
                    <a:pt x="139398" y="98898"/>
                  </a:lnTo>
                  <a:lnTo>
                    <a:pt x="75448" y="98898"/>
                  </a:lnTo>
                  <a:lnTo>
                    <a:pt x="75448" y="208112"/>
                  </a:lnTo>
                  <a:cubicBezTo>
                    <a:pt x="75448" y="226581"/>
                    <a:pt x="78743" y="239725"/>
                    <a:pt x="85344" y="247526"/>
                  </a:cubicBezTo>
                  <a:cubicBezTo>
                    <a:pt x="91945" y="255327"/>
                    <a:pt x="102565" y="259232"/>
                    <a:pt x="117215" y="259232"/>
                  </a:cubicBezTo>
                  <a:cubicBezTo>
                    <a:pt x="127797" y="259232"/>
                    <a:pt x="138751" y="256699"/>
                    <a:pt x="150066" y="251641"/>
                  </a:cubicBezTo>
                  <a:lnTo>
                    <a:pt x="156153" y="285922"/>
                  </a:lnTo>
                  <a:cubicBezTo>
                    <a:pt x="139046" y="290036"/>
                    <a:pt x="120263" y="292075"/>
                    <a:pt x="99813" y="292075"/>
                  </a:cubicBezTo>
                  <a:cubicBezTo>
                    <a:pt x="81391" y="292075"/>
                    <a:pt x="65837" y="285607"/>
                    <a:pt x="53150" y="272682"/>
                  </a:cubicBezTo>
                  <a:cubicBezTo>
                    <a:pt x="40453" y="259747"/>
                    <a:pt x="34119" y="243430"/>
                    <a:pt x="34119" y="223714"/>
                  </a:cubicBezTo>
                  <a:lnTo>
                    <a:pt x="34119" y="98898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2E966495-FF18-442B-9EE3-2AE1D61A8FEF}"/>
                </a:ext>
              </a:extLst>
            </p:cNvPr>
            <p:cNvSpPr/>
            <p:nvPr/>
          </p:nvSpPr>
          <p:spPr>
            <a:xfrm>
              <a:off x="3382273" y="3174823"/>
              <a:ext cx="228600" cy="238125"/>
            </a:xfrm>
            <a:custGeom>
              <a:avLst/>
              <a:gdLst>
                <a:gd name="connsiteX0" fmla="*/ 218570 w 228600"/>
                <a:gd name="connsiteY0" fmla="*/ 124977 h 238125"/>
                <a:gd name="connsiteX1" fmla="*/ 50635 w 228600"/>
                <a:gd name="connsiteY1" fmla="*/ 124977 h 238125"/>
                <a:gd name="connsiteX2" fmla="*/ 73047 w 228600"/>
                <a:gd name="connsiteY2" fmla="*/ 184309 h 238125"/>
                <a:gd name="connsiteX3" fmla="*/ 123949 w 228600"/>
                <a:gd name="connsiteY3" fmla="*/ 202368 h 238125"/>
                <a:gd name="connsiteX4" fmla="*/ 183118 w 228600"/>
                <a:gd name="connsiteY4" fmla="*/ 182870 h 238125"/>
                <a:gd name="connsiteX5" fmla="*/ 200520 w 228600"/>
                <a:gd name="connsiteY5" fmla="*/ 210988 h 238125"/>
                <a:gd name="connsiteX6" fmla="*/ 171155 w 228600"/>
                <a:gd name="connsiteY6" fmla="*/ 226590 h 238125"/>
                <a:gd name="connsiteX7" fmla="*/ 115900 w 228600"/>
                <a:gd name="connsiteY7" fmla="*/ 235210 h 238125"/>
                <a:gd name="connsiteX8" fmla="*/ 41291 w 228600"/>
                <a:gd name="connsiteY8" fmla="*/ 207092 h 238125"/>
                <a:gd name="connsiteX9" fmla="*/ 7144 w 228600"/>
                <a:gd name="connsiteY9" fmla="*/ 123749 h 238125"/>
                <a:gd name="connsiteX10" fmla="*/ 42167 w 228600"/>
                <a:gd name="connsiteY10" fmla="*/ 36500 h 238125"/>
                <a:gd name="connsiteX11" fmla="*/ 116348 w 228600"/>
                <a:gd name="connsiteY11" fmla="*/ 7144 h 238125"/>
                <a:gd name="connsiteX12" fmla="*/ 194443 w 228600"/>
                <a:gd name="connsiteY12" fmla="*/ 33623 h 238125"/>
                <a:gd name="connsiteX13" fmla="*/ 221856 w 228600"/>
                <a:gd name="connsiteY13" fmla="*/ 101165 h 238125"/>
                <a:gd name="connsiteX14" fmla="*/ 218570 w 228600"/>
                <a:gd name="connsiteY14" fmla="*/ 124977 h 238125"/>
                <a:gd name="connsiteX15" fmla="*/ 118281 w 228600"/>
                <a:gd name="connsiteY15" fmla="*/ 39995 h 238125"/>
                <a:gd name="connsiteX16" fmla="*/ 71952 w 228600"/>
                <a:gd name="connsiteY16" fmla="*/ 56826 h 238125"/>
                <a:gd name="connsiteX17" fmla="*/ 51721 w 228600"/>
                <a:gd name="connsiteY17" fmla="*/ 96660 h 238125"/>
                <a:gd name="connsiteX18" fmla="*/ 180718 w 228600"/>
                <a:gd name="connsiteY18" fmla="*/ 96660 h 238125"/>
                <a:gd name="connsiteX19" fmla="*/ 165049 w 228600"/>
                <a:gd name="connsiteY19" fmla="*/ 57236 h 238125"/>
                <a:gd name="connsiteX20" fmla="*/ 118281 w 228600"/>
                <a:gd name="connsiteY20" fmla="*/ 3999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8600" h="238125">
                  <a:moveTo>
                    <a:pt x="218570" y="124977"/>
                  </a:moveTo>
                  <a:lnTo>
                    <a:pt x="50635" y="124977"/>
                  </a:lnTo>
                  <a:cubicBezTo>
                    <a:pt x="50635" y="150704"/>
                    <a:pt x="58102" y="170478"/>
                    <a:pt x="73047" y="184309"/>
                  </a:cubicBezTo>
                  <a:cubicBezTo>
                    <a:pt x="86239" y="196358"/>
                    <a:pt x="103213" y="202368"/>
                    <a:pt x="123949" y="202368"/>
                  </a:cubicBezTo>
                  <a:cubicBezTo>
                    <a:pt x="147580" y="202368"/>
                    <a:pt x="167307" y="195872"/>
                    <a:pt x="183118" y="182870"/>
                  </a:cubicBezTo>
                  <a:lnTo>
                    <a:pt x="200520" y="210988"/>
                  </a:lnTo>
                  <a:cubicBezTo>
                    <a:pt x="194139" y="217018"/>
                    <a:pt x="184347" y="222218"/>
                    <a:pt x="171155" y="226590"/>
                  </a:cubicBezTo>
                  <a:cubicBezTo>
                    <a:pt x="154619" y="232343"/>
                    <a:pt x="136208" y="235210"/>
                    <a:pt x="115900" y="235210"/>
                  </a:cubicBezTo>
                  <a:cubicBezTo>
                    <a:pt x="86601" y="235210"/>
                    <a:pt x="61732" y="225847"/>
                    <a:pt x="41291" y="207092"/>
                  </a:cubicBezTo>
                  <a:cubicBezTo>
                    <a:pt x="18526" y="186423"/>
                    <a:pt x="7144" y="158648"/>
                    <a:pt x="7144" y="123749"/>
                  </a:cubicBezTo>
                  <a:cubicBezTo>
                    <a:pt x="7144" y="87478"/>
                    <a:pt x="18821" y="58398"/>
                    <a:pt x="42167" y="36500"/>
                  </a:cubicBezTo>
                  <a:cubicBezTo>
                    <a:pt x="63046" y="16935"/>
                    <a:pt x="87773" y="7144"/>
                    <a:pt x="116348" y="7144"/>
                  </a:cubicBezTo>
                  <a:cubicBezTo>
                    <a:pt x="149552" y="7144"/>
                    <a:pt x="175593" y="15973"/>
                    <a:pt x="194443" y="33623"/>
                  </a:cubicBezTo>
                  <a:cubicBezTo>
                    <a:pt x="212712" y="50597"/>
                    <a:pt x="221856" y="73114"/>
                    <a:pt x="221856" y="101165"/>
                  </a:cubicBezTo>
                  <a:cubicBezTo>
                    <a:pt x="221828" y="109795"/>
                    <a:pt x="220742" y="117738"/>
                    <a:pt x="218570" y="124977"/>
                  </a:cubicBezTo>
                  <a:close/>
                  <a:moveTo>
                    <a:pt x="118281" y="39995"/>
                  </a:moveTo>
                  <a:cubicBezTo>
                    <a:pt x="99860" y="39995"/>
                    <a:pt x="84420" y="45606"/>
                    <a:pt x="71952" y="56826"/>
                  </a:cubicBezTo>
                  <a:cubicBezTo>
                    <a:pt x="60055" y="67504"/>
                    <a:pt x="53311" y="80781"/>
                    <a:pt x="51721" y="96660"/>
                  </a:cubicBezTo>
                  <a:lnTo>
                    <a:pt x="180718" y="96660"/>
                  </a:lnTo>
                  <a:cubicBezTo>
                    <a:pt x="180718" y="80924"/>
                    <a:pt x="175498" y="67780"/>
                    <a:pt x="165049" y="57236"/>
                  </a:cubicBezTo>
                  <a:cubicBezTo>
                    <a:pt x="153600" y="45739"/>
                    <a:pt x="138008" y="39995"/>
                    <a:pt x="118281" y="39995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33C96522-BE3A-4B97-924A-C50B023B8379}"/>
                </a:ext>
              </a:extLst>
            </p:cNvPr>
            <p:cNvSpPr/>
            <p:nvPr/>
          </p:nvSpPr>
          <p:spPr>
            <a:xfrm>
              <a:off x="3631171" y="3164774"/>
              <a:ext cx="200025" cy="333375"/>
            </a:xfrm>
            <a:custGeom>
              <a:avLst/>
              <a:gdLst>
                <a:gd name="connsiteX0" fmla="*/ 10620 w 200025"/>
                <a:gd name="connsiteY0" fmla="*/ 301304 h 333375"/>
                <a:gd name="connsiteX1" fmla="*/ 33033 w 200025"/>
                <a:gd name="connsiteY1" fmla="*/ 270110 h 333375"/>
                <a:gd name="connsiteX2" fmla="*/ 99593 w 200025"/>
                <a:gd name="connsiteY2" fmla="*/ 292894 h 333375"/>
                <a:gd name="connsiteX3" fmla="*/ 143856 w 200025"/>
                <a:gd name="connsiteY3" fmla="*/ 283759 h 333375"/>
                <a:gd name="connsiteX4" fmla="*/ 160058 w 200025"/>
                <a:gd name="connsiteY4" fmla="*/ 261080 h 333375"/>
                <a:gd name="connsiteX5" fmla="*/ 119167 w 200025"/>
                <a:gd name="connsiteY5" fmla="*/ 234391 h 333375"/>
                <a:gd name="connsiteX6" fmla="*/ 93936 w 200025"/>
                <a:gd name="connsiteY6" fmla="*/ 237677 h 333375"/>
                <a:gd name="connsiteX7" fmla="*/ 65437 w 200025"/>
                <a:gd name="connsiteY7" fmla="*/ 240963 h 333375"/>
                <a:gd name="connsiteX8" fmla="*/ 15840 w 200025"/>
                <a:gd name="connsiteY8" fmla="*/ 205654 h 333375"/>
                <a:gd name="connsiteX9" fmla="*/ 27480 w 200025"/>
                <a:gd name="connsiteY9" fmla="*/ 185947 h 333375"/>
                <a:gd name="connsiteX10" fmla="*/ 56302 w 200025"/>
                <a:gd name="connsiteY10" fmla="*/ 173222 h 333375"/>
                <a:gd name="connsiteX11" fmla="*/ 7144 w 200025"/>
                <a:gd name="connsiteY11" fmla="*/ 97679 h 333375"/>
                <a:gd name="connsiteX12" fmla="*/ 32595 w 200025"/>
                <a:gd name="connsiteY12" fmla="*/ 40196 h 333375"/>
                <a:gd name="connsiteX13" fmla="*/ 95460 w 200025"/>
                <a:gd name="connsiteY13" fmla="*/ 17202 h 333375"/>
                <a:gd name="connsiteX14" fmla="*/ 149190 w 200025"/>
                <a:gd name="connsiteY14" fmla="*/ 30547 h 333375"/>
                <a:gd name="connsiteX15" fmla="*/ 169859 w 200025"/>
                <a:gd name="connsiteY15" fmla="*/ 7144 h 333375"/>
                <a:gd name="connsiteX16" fmla="*/ 196834 w 200025"/>
                <a:gd name="connsiteY16" fmla="*/ 31156 h 333375"/>
                <a:gd name="connsiteX17" fmla="*/ 172031 w 200025"/>
                <a:gd name="connsiteY17" fmla="*/ 48816 h 333375"/>
                <a:gd name="connsiteX18" fmla="*/ 187909 w 200025"/>
                <a:gd name="connsiteY18" fmla="*/ 99727 h 333375"/>
                <a:gd name="connsiteX19" fmla="*/ 165935 w 200025"/>
                <a:gd name="connsiteY19" fmla="*/ 155562 h 333375"/>
                <a:gd name="connsiteX20" fmla="*/ 108290 w 200025"/>
                <a:gd name="connsiteY20" fmla="*/ 181432 h 333375"/>
                <a:gd name="connsiteX21" fmla="*/ 74143 w 200025"/>
                <a:gd name="connsiteY21" fmla="*/ 184718 h 333375"/>
                <a:gd name="connsiteX22" fmla="*/ 57826 w 200025"/>
                <a:gd name="connsiteY22" fmla="*/ 189128 h 333375"/>
                <a:gd name="connsiteX23" fmla="*/ 47606 w 200025"/>
                <a:gd name="connsiteY23" fmla="*/ 199092 h 333375"/>
                <a:gd name="connsiteX24" fmla="*/ 68923 w 200025"/>
                <a:gd name="connsiteY24" fmla="*/ 207512 h 333375"/>
                <a:gd name="connsiteX25" fmla="*/ 98069 w 200025"/>
                <a:gd name="connsiteY25" fmla="*/ 204330 h 333375"/>
                <a:gd name="connsiteX26" fmla="*/ 127435 w 200025"/>
                <a:gd name="connsiteY26" fmla="*/ 201139 h 333375"/>
                <a:gd name="connsiteX27" fmla="*/ 181051 w 200025"/>
                <a:gd name="connsiteY27" fmla="*/ 216646 h 333375"/>
                <a:gd name="connsiteX28" fmla="*/ 200301 w 200025"/>
                <a:gd name="connsiteY28" fmla="*/ 259651 h 333375"/>
                <a:gd name="connsiteX29" fmla="*/ 171479 w 200025"/>
                <a:gd name="connsiteY29" fmla="*/ 308715 h 333375"/>
                <a:gd name="connsiteX30" fmla="*/ 98498 w 200025"/>
                <a:gd name="connsiteY30" fmla="*/ 327393 h 333375"/>
                <a:gd name="connsiteX31" fmla="*/ 50863 w 200025"/>
                <a:gd name="connsiteY31" fmla="*/ 319802 h 333375"/>
                <a:gd name="connsiteX32" fmla="*/ 10620 w 200025"/>
                <a:gd name="connsiteY32" fmla="*/ 301304 h 333375"/>
                <a:gd name="connsiteX33" fmla="*/ 98288 w 200025"/>
                <a:gd name="connsiteY33" fmla="*/ 48606 h 333375"/>
                <a:gd name="connsiteX34" fmla="*/ 63160 w 200025"/>
                <a:gd name="connsiteY34" fmla="*/ 62979 h 333375"/>
                <a:gd name="connsiteX35" fmla="*/ 49568 w 200025"/>
                <a:gd name="connsiteY35" fmla="*/ 97879 h 333375"/>
                <a:gd name="connsiteX36" fmla="*/ 62732 w 200025"/>
                <a:gd name="connsiteY36" fmla="*/ 135950 h 333375"/>
                <a:gd name="connsiteX37" fmla="*/ 98298 w 200025"/>
                <a:gd name="connsiteY37" fmla="*/ 151047 h 333375"/>
                <a:gd name="connsiteX38" fmla="*/ 132664 w 200025"/>
                <a:gd name="connsiteY38" fmla="*/ 136369 h 333375"/>
                <a:gd name="connsiteX39" fmla="*/ 145066 w 200025"/>
                <a:gd name="connsiteY39" fmla="*/ 97879 h 333375"/>
                <a:gd name="connsiteX40" fmla="*/ 131683 w 200025"/>
                <a:gd name="connsiteY40" fmla="*/ 62979 h 333375"/>
                <a:gd name="connsiteX41" fmla="*/ 98288 w 200025"/>
                <a:gd name="connsiteY41" fmla="*/ 48606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0025" h="333375">
                  <a:moveTo>
                    <a:pt x="10620" y="301304"/>
                  </a:moveTo>
                  <a:lnTo>
                    <a:pt x="33033" y="270110"/>
                  </a:lnTo>
                  <a:cubicBezTo>
                    <a:pt x="57102" y="285302"/>
                    <a:pt x="79286" y="292894"/>
                    <a:pt x="99593" y="292894"/>
                  </a:cubicBezTo>
                  <a:cubicBezTo>
                    <a:pt x="118300" y="292894"/>
                    <a:pt x="133055" y="289855"/>
                    <a:pt x="143856" y="283759"/>
                  </a:cubicBezTo>
                  <a:cubicBezTo>
                    <a:pt x="154657" y="277673"/>
                    <a:pt x="160058" y="270110"/>
                    <a:pt x="160058" y="261080"/>
                  </a:cubicBezTo>
                  <a:cubicBezTo>
                    <a:pt x="160058" y="243288"/>
                    <a:pt x="146428" y="234391"/>
                    <a:pt x="119167" y="234391"/>
                  </a:cubicBezTo>
                  <a:cubicBezTo>
                    <a:pt x="114529" y="234391"/>
                    <a:pt x="106118" y="235487"/>
                    <a:pt x="93936" y="237677"/>
                  </a:cubicBezTo>
                  <a:cubicBezTo>
                    <a:pt x="81753" y="239859"/>
                    <a:pt x="72257" y="240963"/>
                    <a:pt x="65437" y="240963"/>
                  </a:cubicBezTo>
                  <a:cubicBezTo>
                    <a:pt x="32375" y="240963"/>
                    <a:pt x="15840" y="229200"/>
                    <a:pt x="15840" y="205654"/>
                  </a:cubicBezTo>
                  <a:cubicBezTo>
                    <a:pt x="15840" y="198396"/>
                    <a:pt x="19717" y="191834"/>
                    <a:pt x="27480" y="185947"/>
                  </a:cubicBezTo>
                  <a:cubicBezTo>
                    <a:pt x="35233" y="180070"/>
                    <a:pt x="44844" y="175822"/>
                    <a:pt x="56302" y="173222"/>
                  </a:cubicBezTo>
                  <a:cubicBezTo>
                    <a:pt x="23527" y="158725"/>
                    <a:pt x="7144" y="133531"/>
                    <a:pt x="7144" y="97679"/>
                  </a:cubicBezTo>
                  <a:cubicBezTo>
                    <a:pt x="7144" y="74686"/>
                    <a:pt x="15631" y="55521"/>
                    <a:pt x="32595" y="40196"/>
                  </a:cubicBezTo>
                  <a:cubicBezTo>
                    <a:pt x="49559" y="24879"/>
                    <a:pt x="70514" y="17202"/>
                    <a:pt x="95460" y="17202"/>
                  </a:cubicBezTo>
                  <a:cubicBezTo>
                    <a:pt x="118367" y="17202"/>
                    <a:pt x="136284" y="21660"/>
                    <a:pt x="149190" y="30547"/>
                  </a:cubicBezTo>
                  <a:lnTo>
                    <a:pt x="169859" y="7144"/>
                  </a:lnTo>
                  <a:lnTo>
                    <a:pt x="196834" y="31156"/>
                  </a:lnTo>
                  <a:lnTo>
                    <a:pt x="172031" y="48816"/>
                  </a:lnTo>
                  <a:cubicBezTo>
                    <a:pt x="182613" y="61817"/>
                    <a:pt x="187909" y="78781"/>
                    <a:pt x="187909" y="99727"/>
                  </a:cubicBezTo>
                  <a:cubicBezTo>
                    <a:pt x="187909" y="121901"/>
                    <a:pt x="180584" y="140513"/>
                    <a:pt x="165935" y="155562"/>
                  </a:cubicBezTo>
                  <a:cubicBezTo>
                    <a:pt x="151286" y="170621"/>
                    <a:pt x="132074" y="179242"/>
                    <a:pt x="108290" y="181432"/>
                  </a:cubicBezTo>
                  <a:lnTo>
                    <a:pt x="74143" y="184718"/>
                  </a:lnTo>
                  <a:cubicBezTo>
                    <a:pt x="70085" y="185128"/>
                    <a:pt x="64646" y="186595"/>
                    <a:pt x="57826" y="189128"/>
                  </a:cubicBezTo>
                  <a:cubicBezTo>
                    <a:pt x="51006" y="191672"/>
                    <a:pt x="47606" y="194977"/>
                    <a:pt x="47606" y="199092"/>
                  </a:cubicBezTo>
                  <a:cubicBezTo>
                    <a:pt x="47606" y="204702"/>
                    <a:pt x="54712" y="207512"/>
                    <a:pt x="68923" y="207512"/>
                  </a:cubicBezTo>
                  <a:cubicBezTo>
                    <a:pt x="75152" y="207512"/>
                    <a:pt x="84868" y="206454"/>
                    <a:pt x="98069" y="204330"/>
                  </a:cubicBezTo>
                  <a:cubicBezTo>
                    <a:pt x="111262" y="202206"/>
                    <a:pt x="121053" y="201139"/>
                    <a:pt x="127435" y="201139"/>
                  </a:cubicBezTo>
                  <a:cubicBezTo>
                    <a:pt x="150352" y="201139"/>
                    <a:pt x="168221" y="206312"/>
                    <a:pt x="181051" y="216646"/>
                  </a:cubicBezTo>
                  <a:cubicBezTo>
                    <a:pt x="193891" y="226981"/>
                    <a:pt x="200301" y="241306"/>
                    <a:pt x="200301" y="259651"/>
                  </a:cubicBezTo>
                  <a:cubicBezTo>
                    <a:pt x="200301" y="279911"/>
                    <a:pt x="190691" y="296266"/>
                    <a:pt x="171479" y="308715"/>
                  </a:cubicBezTo>
                  <a:cubicBezTo>
                    <a:pt x="152257" y="321164"/>
                    <a:pt x="127930" y="327393"/>
                    <a:pt x="98498" y="327393"/>
                  </a:cubicBezTo>
                  <a:cubicBezTo>
                    <a:pt x="83410" y="327393"/>
                    <a:pt x="67532" y="324860"/>
                    <a:pt x="50863" y="319802"/>
                  </a:cubicBezTo>
                  <a:cubicBezTo>
                    <a:pt x="34195" y="314725"/>
                    <a:pt x="20774" y="308562"/>
                    <a:pt x="10620" y="301304"/>
                  </a:cubicBezTo>
                  <a:close/>
                  <a:moveTo>
                    <a:pt x="98288" y="48606"/>
                  </a:moveTo>
                  <a:cubicBezTo>
                    <a:pt x="83934" y="48606"/>
                    <a:pt x="72219" y="53397"/>
                    <a:pt x="63160" y="62979"/>
                  </a:cubicBezTo>
                  <a:cubicBezTo>
                    <a:pt x="54102" y="72561"/>
                    <a:pt x="49568" y="84201"/>
                    <a:pt x="49568" y="97879"/>
                  </a:cubicBezTo>
                  <a:cubicBezTo>
                    <a:pt x="49568" y="113205"/>
                    <a:pt x="53950" y="125892"/>
                    <a:pt x="62732" y="135950"/>
                  </a:cubicBezTo>
                  <a:cubicBezTo>
                    <a:pt x="71504" y="146018"/>
                    <a:pt x="83363" y="151047"/>
                    <a:pt x="98298" y="151047"/>
                  </a:cubicBezTo>
                  <a:cubicBezTo>
                    <a:pt x="112947" y="151047"/>
                    <a:pt x="124406" y="146152"/>
                    <a:pt x="132664" y="136369"/>
                  </a:cubicBezTo>
                  <a:cubicBezTo>
                    <a:pt x="140922" y="126587"/>
                    <a:pt x="145066" y="113757"/>
                    <a:pt x="145066" y="97879"/>
                  </a:cubicBezTo>
                  <a:cubicBezTo>
                    <a:pt x="145066" y="84192"/>
                    <a:pt x="140608" y="72561"/>
                    <a:pt x="131683" y="62979"/>
                  </a:cubicBezTo>
                  <a:cubicBezTo>
                    <a:pt x="122758" y="53397"/>
                    <a:pt x="111624" y="48606"/>
                    <a:pt x="98288" y="48606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62E9089B-F80B-4A40-B426-1B41438860A9}"/>
                </a:ext>
              </a:extLst>
            </p:cNvPr>
            <p:cNvSpPr/>
            <p:nvPr/>
          </p:nvSpPr>
          <p:spPr>
            <a:xfrm>
              <a:off x="3842673" y="3178937"/>
              <a:ext cx="228600" cy="314325"/>
            </a:xfrm>
            <a:custGeom>
              <a:avLst/>
              <a:gdLst>
                <a:gd name="connsiteX0" fmla="*/ 122872 w 228600"/>
                <a:gd name="connsiteY0" fmla="*/ 264366 h 314325"/>
                <a:gd name="connsiteX1" fmla="*/ 89049 w 228600"/>
                <a:gd name="connsiteY1" fmla="*/ 299256 h 314325"/>
                <a:gd name="connsiteX2" fmla="*/ 31509 w 228600"/>
                <a:gd name="connsiteY2" fmla="*/ 313220 h 314325"/>
                <a:gd name="connsiteX3" fmla="*/ 31509 w 228600"/>
                <a:gd name="connsiteY3" fmla="*/ 278321 h 314325"/>
                <a:gd name="connsiteX4" fmla="*/ 75886 w 228600"/>
                <a:gd name="connsiteY4" fmla="*/ 266929 h 314325"/>
                <a:gd name="connsiteX5" fmla="*/ 94374 w 228600"/>
                <a:gd name="connsiteY5" fmla="*/ 239116 h 314325"/>
                <a:gd name="connsiteX6" fmla="*/ 87630 w 228600"/>
                <a:gd name="connsiteY6" fmla="*/ 203502 h 314325"/>
                <a:gd name="connsiteX7" fmla="*/ 70228 w 228600"/>
                <a:gd name="connsiteY7" fmla="*/ 160077 h 314325"/>
                <a:gd name="connsiteX8" fmla="*/ 7144 w 228600"/>
                <a:gd name="connsiteY8" fmla="*/ 7144 h 314325"/>
                <a:gd name="connsiteX9" fmla="*/ 49349 w 228600"/>
                <a:gd name="connsiteY9" fmla="*/ 7144 h 314325"/>
                <a:gd name="connsiteX10" fmla="*/ 117872 w 228600"/>
                <a:gd name="connsiteY10" fmla="*/ 177117 h 314325"/>
                <a:gd name="connsiteX11" fmla="*/ 179432 w 228600"/>
                <a:gd name="connsiteY11" fmla="*/ 7144 h 314325"/>
                <a:gd name="connsiteX12" fmla="*/ 221637 w 228600"/>
                <a:gd name="connsiteY12" fmla="*/ 7144 h 314325"/>
                <a:gd name="connsiteX13" fmla="*/ 122872 w 228600"/>
                <a:gd name="connsiteY13" fmla="*/ 264366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8600" h="314325">
                  <a:moveTo>
                    <a:pt x="122872" y="264366"/>
                  </a:moveTo>
                  <a:cubicBezTo>
                    <a:pt x="117510" y="278321"/>
                    <a:pt x="106232" y="289960"/>
                    <a:pt x="89049" y="299256"/>
                  </a:cubicBezTo>
                  <a:cubicBezTo>
                    <a:pt x="71866" y="308572"/>
                    <a:pt x="52683" y="313220"/>
                    <a:pt x="31509" y="313220"/>
                  </a:cubicBezTo>
                  <a:lnTo>
                    <a:pt x="31509" y="278321"/>
                  </a:lnTo>
                  <a:cubicBezTo>
                    <a:pt x="48768" y="278321"/>
                    <a:pt x="63551" y="274530"/>
                    <a:pt x="75886" y="266929"/>
                  </a:cubicBezTo>
                  <a:cubicBezTo>
                    <a:pt x="88211" y="259337"/>
                    <a:pt x="94374" y="250060"/>
                    <a:pt x="94374" y="239116"/>
                  </a:cubicBezTo>
                  <a:cubicBezTo>
                    <a:pt x="94374" y="227067"/>
                    <a:pt x="92126" y="215198"/>
                    <a:pt x="87630" y="203502"/>
                  </a:cubicBezTo>
                  <a:cubicBezTo>
                    <a:pt x="83134" y="191795"/>
                    <a:pt x="77324" y="177327"/>
                    <a:pt x="70228" y="160077"/>
                  </a:cubicBezTo>
                  <a:lnTo>
                    <a:pt x="7144" y="7144"/>
                  </a:lnTo>
                  <a:lnTo>
                    <a:pt x="49349" y="7144"/>
                  </a:lnTo>
                  <a:lnTo>
                    <a:pt x="117872" y="177117"/>
                  </a:lnTo>
                  <a:lnTo>
                    <a:pt x="179432" y="7144"/>
                  </a:lnTo>
                  <a:lnTo>
                    <a:pt x="221637" y="7144"/>
                  </a:lnTo>
                  <a:lnTo>
                    <a:pt x="122872" y="264366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6A6AC0AF-8041-415B-BB1D-11EB5EEB51D1}"/>
                </a:ext>
              </a:extLst>
            </p:cNvPr>
            <p:cNvSpPr/>
            <p:nvPr/>
          </p:nvSpPr>
          <p:spPr>
            <a:xfrm>
              <a:off x="4216730" y="3175851"/>
              <a:ext cx="209550" cy="238125"/>
            </a:xfrm>
            <a:custGeom>
              <a:avLst/>
              <a:gdLst>
                <a:gd name="connsiteX0" fmla="*/ 169859 w 209550"/>
                <a:gd name="connsiteY0" fmla="*/ 150228 h 238125"/>
                <a:gd name="connsiteX1" fmla="*/ 208359 w 209550"/>
                <a:gd name="connsiteY1" fmla="*/ 154953 h 238125"/>
                <a:gd name="connsiteX2" fmla="*/ 176051 w 209550"/>
                <a:gd name="connsiteY2" fmla="*/ 213760 h 238125"/>
                <a:gd name="connsiteX3" fmla="*/ 112204 w 209550"/>
                <a:gd name="connsiteY3" fmla="*/ 235010 h 238125"/>
                <a:gd name="connsiteX4" fmla="*/ 35966 w 209550"/>
                <a:gd name="connsiteY4" fmla="*/ 205759 h 238125"/>
                <a:gd name="connsiteX5" fmla="*/ 7144 w 209550"/>
                <a:gd name="connsiteY5" fmla="*/ 121892 h 238125"/>
                <a:gd name="connsiteX6" fmla="*/ 19545 w 209550"/>
                <a:gd name="connsiteY6" fmla="*/ 60112 h 238125"/>
                <a:gd name="connsiteX7" fmla="*/ 57283 w 209550"/>
                <a:gd name="connsiteY7" fmla="*/ 20383 h 238125"/>
                <a:gd name="connsiteX8" fmla="*/ 112424 w 209550"/>
                <a:gd name="connsiteY8" fmla="*/ 7144 h 238125"/>
                <a:gd name="connsiteX9" fmla="*/ 173984 w 209550"/>
                <a:gd name="connsiteY9" fmla="*/ 25108 h 238125"/>
                <a:gd name="connsiteX10" fmla="*/ 204654 w 209550"/>
                <a:gd name="connsiteY10" fmla="*/ 76114 h 238125"/>
                <a:gd name="connsiteX11" fmla="*/ 166583 w 209550"/>
                <a:gd name="connsiteY11" fmla="*/ 81658 h 238125"/>
                <a:gd name="connsiteX12" fmla="*/ 147333 w 209550"/>
                <a:gd name="connsiteY12" fmla="*/ 48606 h 238125"/>
                <a:gd name="connsiteX13" fmla="*/ 113938 w 209550"/>
                <a:gd name="connsiteY13" fmla="*/ 37519 h 238125"/>
                <a:gd name="connsiteX14" fmla="*/ 65865 w 209550"/>
                <a:gd name="connsiteY14" fmla="*/ 57541 h 238125"/>
                <a:gd name="connsiteX15" fmla="*/ 47377 w 209550"/>
                <a:gd name="connsiteY15" fmla="*/ 120863 h 238125"/>
                <a:gd name="connsiteX16" fmla="*/ 65218 w 209550"/>
                <a:gd name="connsiteY16" fmla="*/ 184709 h 238125"/>
                <a:gd name="connsiteX17" fmla="*/ 111766 w 209550"/>
                <a:gd name="connsiteY17" fmla="*/ 204616 h 238125"/>
                <a:gd name="connsiteX18" fmla="*/ 150266 w 209550"/>
                <a:gd name="connsiteY18" fmla="*/ 191281 h 238125"/>
                <a:gd name="connsiteX19" fmla="*/ 169859 w 209550"/>
                <a:gd name="connsiteY19" fmla="*/ 150228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9550" h="238125">
                  <a:moveTo>
                    <a:pt x="169859" y="150228"/>
                  </a:moveTo>
                  <a:lnTo>
                    <a:pt x="208359" y="154953"/>
                  </a:lnTo>
                  <a:cubicBezTo>
                    <a:pt x="204149" y="179994"/>
                    <a:pt x="193386" y="199606"/>
                    <a:pt x="176051" y="213760"/>
                  </a:cubicBezTo>
                  <a:cubicBezTo>
                    <a:pt x="158715" y="227924"/>
                    <a:pt x="137436" y="235010"/>
                    <a:pt x="112204" y="235010"/>
                  </a:cubicBezTo>
                  <a:cubicBezTo>
                    <a:pt x="80591" y="235010"/>
                    <a:pt x="55178" y="225257"/>
                    <a:pt x="35966" y="205759"/>
                  </a:cubicBezTo>
                  <a:cubicBezTo>
                    <a:pt x="16745" y="186252"/>
                    <a:pt x="7144" y="158306"/>
                    <a:pt x="7144" y="121892"/>
                  </a:cubicBezTo>
                  <a:cubicBezTo>
                    <a:pt x="7144" y="98355"/>
                    <a:pt x="11278" y="77762"/>
                    <a:pt x="19545" y="60112"/>
                  </a:cubicBezTo>
                  <a:cubicBezTo>
                    <a:pt x="27813" y="42453"/>
                    <a:pt x="40386" y="29213"/>
                    <a:pt x="57283" y="20383"/>
                  </a:cubicBezTo>
                  <a:cubicBezTo>
                    <a:pt x="74171" y="11554"/>
                    <a:pt x="92555" y="7144"/>
                    <a:pt x="112424" y="7144"/>
                  </a:cubicBezTo>
                  <a:cubicBezTo>
                    <a:pt x="137513" y="7144"/>
                    <a:pt x="158029" y="13135"/>
                    <a:pt x="173984" y="25108"/>
                  </a:cubicBezTo>
                  <a:cubicBezTo>
                    <a:pt x="189938" y="37081"/>
                    <a:pt x="200168" y="54083"/>
                    <a:pt x="204654" y="76114"/>
                  </a:cubicBezTo>
                  <a:lnTo>
                    <a:pt x="166583" y="81658"/>
                  </a:lnTo>
                  <a:cubicBezTo>
                    <a:pt x="162954" y="67018"/>
                    <a:pt x="156543" y="55998"/>
                    <a:pt x="147333" y="48606"/>
                  </a:cubicBezTo>
                  <a:cubicBezTo>
                    <a:pt x="138122" y="41215"/>
                    <a:pt x="126997" y="37519"/>
                    <a:pt x="113938" y="37519"/>
                  </a:cubicBezTo>
                  <a:cubicBezTo>
                    <a:pt x="94221" y="37519"/>
                    <a:pt x="78191" y="44187"/>
                    <a:pt x="65865" y="57541"/>
                  </a:cubicBezTo>
                  <a:cubicBezTo>
                    <a:pt x="53540" y="70876"/>
                    <a:pt x="47377" y="91992"/>
                    <a:pt x="47377" y="120863"/>
                  </a:cubicBezTo>
                  <a:cubicBezTo>
                    <a:pt x="47377" y="150152"/>
                    <a:pt x="53330" y="171441"/>
                    <a:pt x="65218" y="184709"/>
                  </a:cubicBezTo>
                  <a:cubicBezTo>
                    <a:pt x="77105" y="197987"/>
                    <a:pt x="92621" y="204616"/>
                    <a:pt x="111766" y="204616"/>
                  </a:cubicBezTo>
                  <a:cubicBezTo>
                    <a:pt x="127130" y="204616"/>
                    <a:pt x="139970" y="200168"/>
                    <a:pt x="150266" y="191281"/>
                  </a:cubicBezTo>
                  <a:cubicBezTo>
                    <a:pt x="160563" y="182394"/>
                    <a:pt x="167097" y="168707"/>
                    <a:pt x="169859" y="150228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54DDF795-567F-4120-9238-03949882BBC3}"/>
                </a:ext>
              </a:extLst>
            </p:cNvPr>
            <p:cNvSpPr/>
            <p:nvPr/>
          </p:nvSpPr>
          <p:spPr>
            <a:xfrm>
              <a:off x="4439539" y="3175861"/>
              <a:ext cx="228600" cy="238125"/>
            </a:xfrm>
            <a:custGeom>
              <a:avLst/>
              <a:gdLst>
                <a:gd name="connsiteX0" fmla="*/ 7144 w 228600"/>
                <a:gd name="connsiteY0" fmla="*/ 121072 h 238125"/>
                <a:gd name="connsiteX1" fmla="*/ 42815 w 228600"/>
                <a:gd name="connsiteY1" fmla="*/ 31366 h 238125"/>
                <a:gd name="connsiteX2" fmla="*/ 115472 w 228600"/>
                <a:gd name="connsiteY2" fmla="*/ 7144 h 238125"/>
                <a:gd name="connsiteX3" fmla="*/ 193348 w 228600"/>
                <a:gd name="connsiteY3" fmla="*/ 36605 h 238125"/>
                <a:gd name="connsiteX4" fmla="*/ 223590 w 228600"/>
                <a:gd name="connsiteY4" fmla="*/ 117996 h 238125"/>
                <a:gd name="connsiteX5" fmla="*/ 210217 w 228600"/>
                <a:gd name="connsiteY5" fmla="*/ 184204 h 238125"/>
                <a:gd name="connsiteX6" fmla="*/ 171279 w 228600"/>
                <a:gd name="connsiteY6" fmla="*/ 221666 h 238125"/>
                <a:gd name="connsiteX7" fmla="*/ 115481 w 228600"/>
                <a:gd name="connsiteY7" fmla="*/ 235010 h 238125"/>
                <a:gd name="connsiteX8" fmla="*/ 37071 w 228600"/>
                <a:gd name="connsiteY8" fmla="*/ 205654 h 238125"/>
                <a:gd name="connsiteX9" fmla="*/ 7144 w 228600"/>
                <a:gd name="connsiteY9" fmla="*/ 121072 h 238125"/>
                <a:gd name="connsiteX10" fmla="*/ 47387 w 228600"/>
                <a:gd name="connsiteY10" fmla="*/ 121072 h 238125"/>
                <a:gd name="connsiteX11" fmla="*/ 66742 w 228600"/>
                <a:gd name="connsiteY11" fmla="*/ 183785 h 238125"/>
                <a:gd name="connsiteX12" fmla="*/ 115462 w 228600"/>
                <a:gd name="connsiteY12" fmla="*/ 204626 h 238125"/>
                <a:gd name="connsiteX13" fmla="*/ 163973 w 228600"/>
                <a:gd name="connsiteY13" fmla="*/ 183690 h 238125"/>
                <a:gd name="connsiteX14" fmla="*/ 183337 w 228600"/>
                <a:gd name="connsiteY14" fmla="*/ 119853 h 238125"/>
                <a:gd name="connsiteX15" fmla="*/ 163868 w 228600"/>
                <a:gd name="connsiteY15" fmla="*/ 58569 h 238125"/>
                <a:gd name="connsiteX16" fmla="*/ 115462 w 228600"/>
                <a:gd name="connsiteY16" fmla="*/ 37729 h 238125"/>
                <a:gd name="connsiteX17" fmla="*/ 66742 w 228600"/>
                <a:gd name="connsiteY17" fmla="*/ 58464 h 238125"/>
                <a:gd name="connsiteX18" fmla="*/ 47387 w 228600"/>
                <a:gd name="connsiteY18" fmla="*/ 121072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8600" h="238125">
                  <a:moveTo>
                    <a:pt x="7144" y="121072"/>
                  </a:moveTo>
                  <a:cubicBezTo>
                    <a:pt x="7144" y="80705"/>
                    <a:pt x="19031" y="50797"/>
                    <a:pt x="42815" y="31366"/>
                  </a:cubicBezTo>
                  <a:cubicBezTo>
                    <a:pt x="62684" y="15221"/>
                    <a:pt x="86906" y="7144"/>
                    <a:pt x="115472" y="7144"/>
                  </a:cubicBezTo>
                  <a:cubicBezTo>
                    <a:pt x="147238" y="7144"/>
                    <a:pt x="173193" y="16964"/>
                    <a:pt x="193348" y="36605"/>
                  </a:cubicBezTo>
                  <a:cubicBezTo>
                    <a:pt x="213503" y="56245"/>
                    <a:pt x="223590" y="83372"/>
                    <a:pt x="223590" y="117996"/>
                  </a:cubicBezTo>
                  <a:cubicBezTo>
                    <a:pt x="223590" y="146047"/>
                    <a:pt x="219132" y="168126"/>
                    <a:pt x="210217" y="184204"/>
                  </a:cubicBezTo>
                  <a:cubicBezTo>
                    <a:pt x="201301" y="200282"/>
                    <a:pt x="188319" y="212769"/>
                    <a:pt x="171279" y="221666"/>
                  </a:cubicBezTo>
                  <a:cubicBezTo>
                    <a:pt x="154238" y="230562"/>
                    <a:pt x="135636" y="235010"/>
                    <a:pt x="115481" y="235010"/>
                  </a:cubicBezTo>
                  <a:cubicBezTo>
                    <a:pt x="83144" y="235010"/>
                    <a:pt x="56998" y="225228"/>
                    <a:pt x="37071" y="205654"/>
                  </a:cubicBezTo>
                  <a:cubicBezTo>
                    <a:pt x="17117" y="186080"/>
                    <a:pt x="7144" y="157886"/>
                    <a:pt x="7144" y="121072"/>
                  </a:cubicBezTo>
                  <a:close/>
                  <a:moveTo>
                    <a:pt x="47387" y="121072"/>
                  </a:moveTo>
                  <a:cubicBezTo>
                    <a:pt x="47387" y="149000"/>
                    <a:pt x="53835" y="169897"/>
                    <a:pt x="66742" y="183785"/>
                  </a:cubicBezTo>
                  <a:cubicBezTo>
                    <a:pt x="79639" y="197682"/>
                    <a:pt x="95898" y="204626"/>
                    <a:pt x="115462" y="204626"/>
                  </a:cubicBezTo>
                  <a:cubicBezTo>
                    <a:pt x="134893" y="204626"/>
                    <a:pt x="151067" y="197653"/>
                    <a:pt x="163973" y="183690"/>
                  </a:cubicBezTo>
                  <a:cubicBezTo>
                    <a:pt x="176879" y="169736"/>
                    <a:pt x="183337" y="148457"/>
                    <a:pt x="183337" y="119853"/>
                  </a:cubicBezTo>
                  <a:cubicBezTo>
                    <a:pt x="183337" y="92888"/>
                    <a:pt x="176841" y="72466"/>
                    <a:pt x="163868" y="58569"/>
                  </a:cubicBezTo>
                  <a:cubicBezTo>
                    <a:pt x="150886" y="44682"/>
                    <a:pt x="134750" y="37729"/>
                    <a:pt x="115462" y="37729"/>
                  </a:cubicBezTo>
                  <a:cubicBezTo>
                    <a:pt x="95888" y="37729"/>
                    <a:pt x="79639" y="44644"/>
                    <a:pt x="66742" y="58464"/>
                  </a:cubicBezTo>
                  <a:cubicBezTo>
                    <a:pt x="53835" y="72285"/>
                    <a:pt x="47387" y="93154"/>
                    <a:pt x="47387" y="121072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AD021256-C0E6-4EDC-A687-92A2652E0864}"/>
                </a:ext>
              </a:extLst>
            </p:cNvPr>
            <p:cNvSpPr/>
            <p:nvPr/>
          </p:nvSpPr>
          <p:spPr>
            <a:xfrm>
              <a:off x="4704553" y="3175861"/>
              <a:ext cx="200025" cy="228600"/>
            </a:xfrm>
            <a:custGeom>
              <a:avLst/>
              <a:gdLst>
                <a:gd name="connsiteX0" fmla="*/ 7144 w 200025"/>
                <a:gd name="connsiteY0" fmla="*/ 230076 h 228600"/>
                <a:gd name="connsiteX1" fmla="*/ 7144 w 200025"/>
                <a:gd name="connsiteY1" fmla="*/ 12059 h 228600"/>
                <a:gd name="connsiteX2" fmla="*/ 42386 w 200025"/>
                <a:gd name="connsiteY2" fmla="*/ 12059 h 228600"/>
                <a:gd name="connsiteX3" fmla="*/ 42386 w 200025"/>
                <a:gd name="connsiteY3" fmla="*/ 43062 h 228600"/>
                <a:gd name="connsiteX4" fmla="*/ 115910 w 200025"/>
                <a:gd name="connsiteY4" fmla="*/ 7144 h 228600"/>
                <a:gd name="connsiteX5" fmla="*/ 154305 w 200025"/>
                <a:gd name="connsiteY5" fmla="*/ 14221 h 228600"/>
                <a:gd name="connsiteX6" fmla="*/ 180508 w 200025"/>
                <a:gd name="connsiteY6" fmla="*/ 32795 h 228600"/>
                <a:gd name="connsiteX7" fmla="*/ 192691 w 200025"/>
                <a:gd name="connsiteY7" fmla="*/ 60103 h 228600"/>
                <a:gd name="connsiteX8" fmla="*/ 194872 w 200025"/>
                <a:gd name="connsiteY8" fmla="*/ 96021 h 228600"/>
                <a:gd name="connsiteX9" fmla="*/ 194872 w 200025"/>
                <a:gd name="connsiteY9" fmla="*/ 230067 h 228600"/>
                <a:gd name="connsiteX10" fmla="*/ 155724 w 200025"/>
                <a:gd name="connsiteY10" fmla="*/ 230067 h 228600"/>
                <a:gd name="connsiteX11" fmla="*/ 155724 w 200025"/>
                <a:gd name="connsiteY11" fmla="*/ 97450 h 228600"/>
                <a:gd name="connsiteX12" fmla="*/ 151152 w 200025"/>
                <a:gd name="connsiteY12" fmla="*/ 63684 h 228600"/>
                <a:gd name="connsiteX13" fmla="*/ 134950 w 200025"/>
                <a:gd name="connsiteY13" fmla="*/ 45825 h 228600"/>
                <a:gd name="connsiteX14" fmla="*/ 107652 w 200025"/>
                <a:gd name="connsiteY14" fmla="*/ 39157 h 228600"/>
                <a:gd name="connsiteX15" fmla="*/ 64475 w 200025"/>
                <a:gd name="connsiteY15" fmla="*/ 54140 h 228600"/>
                <a:gd name="connsiteX16" fmla="*/ 46311 w 200025"/>
                <a:gd name="connsiteY16" fmla="*/ 111004 h 228600"/>
                <a:gd name="connsiteX17" fmla="*/ 46311 w 200025"/>
                <a:gd name="connsiteY17" fmla="*/ 230067 h 228600"/>
                <a:gd name="connsiteX18" fmla="*/ 7144 w 200025"/>
                <a:gd name="connsiteY18" fmla="*/ 230067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0025" h="228600">
                  <a:moveTo>
                    <a:pt x="7144" y="230076"/>
                  </a:moveTo>
                  <a:lnTo>
                    <a:pt x="7144" y="12059"/>
                  </a:lnTo>
                  <a:lnTo>
                    <a:pt x="42386" y="12059"/>
                  </a:lnTo>
                  <a:lnTo>
                    <a:pt x="42386" y="43062"/>
                  </a:lnTo>
                  <a:cubicBezTo>
                    <a:pt x="59350" y="19107"/>
                    <a:pt x="83858" y="7144"/>
                    <a:pt x="115910" y="7144"/>
                  </a:cubicBezTo>
                  <a:cubicBezTo>
                    <a:pt x="129835" y="7144"/>
                    <a:pt x="142627" y="9506"/>
                    <a:pt x="154305" y="14221"/>
                  </a:cubicBezTo>
                  <a:cubicBezTo>
                    <a:pt x="165973" y="18945"/>
                    <a:pt x="174717" y="25136"/>
                    <a:pt x="180508" y="32795"/>
                  </a:cubicBezTo>
                  <a:cubicBezTo>
                    <a:pt x="186309" y="40472"/>
                    <a:pt x="190376" y="49568"/>
                    <a:pt x="192691" y="60103"/>
                  </a:cubicBezTo>
                  <a:cubicBezTo>
                    <a:pt x="194138" y="66951"/>
                    <a:pt x="194872" y="78924"/>
                    <a:pt x="194872" y="96021"/>
                  </a:cubicBezTo>
                  <a:lnTo>
                    <a:pt x="194872" y="230067"/>
                  </a:lnTo>
                  <a:lnTo>
                    <a:pt x="155724" y="230067"/>
                  </a:lnTo>
                  <a:lnTo>
                    <a:pt x="155724" y="97450"/>
                  </a:lnTo>
                  <a:cubicBezTo>
                    <a:pt x="155724" y="82401"/>
                    <a:pt x="154200" y="71142"/>
                    <a:pt x="151152" y="63684"/>
                  </a:cubicBezTo>
                  <a:cubicBezTo>
                    <a:pt x="148114" y="56226"/>
                    <a:pt x="142704" y="50273"/>
                    <a:pt x="134950" y="45825"/>
                  </a:cubicBezTo>
                  <a:cubicBezTo>
                    <a:pt x="127197" y="41377"/>
                    <a:pt x="118091" y="39157"/>
                    <a:pt x="107652" y="39157"/>
                  </a:cubicBezTo>
                  <a:cubicBezTo>
                    <a:pt x="90973" y="39157"/>
                    <a:pt x="76581" y="44148"/>
                    <a:pt x="64475" y="54140"/>
                  </a:cubicBezTo>
                  <a:cubicBezTo>
                    <a:pt x="52368" y="64132"/>
                    <a:pt x="46311" y="83077"/>
                    <a:pt x="46311" y="111004"/>
                  </a:cubicBezTo>
                  <a:lnTo>
                    <a:pt x="46311" y="230067"/>
                  </a:lnTo>
                  <a:lnTo>
                    <a:pt x="7144" y="230067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51388068-D1C7-4F0A-A0FA-62322DA7B128}"/>
                </a:ext>
              </a:extLst>
            </p:cNvPr>
            <p:cNvSpPr/>
            <p:nvPr/>
          </p:nvSpPr>
          <p:spPr>
            <a:xfrm>
              <a:off x="4939325" y="3175861"/>
              <a:ext cx="200025" cy="238125"/>
            </a:xfrm>
            <a:custGeom>
              <a:avLst/>
              <a:gdLst>
                <a:gd name="connsiteX0" fmla="*/ 7144 w 200025"/>
                <a:gd name="connsiteY0" fmla="*/ 165002 h 238125"/>
                <a:gd name="connsiteX1" fmla="*/ 45863 w 200025"/>
                <a:gd name="connsiteY1" fmla="*/ 159248 h 238125"/>
                <a:gd name="connsiteX2" fmla="*/ 64027 w 200025"/>
                <a:gd name="connsiteY2" fmla="*/ 192910 h 238125"/>
                <a:gd name="connsiteX3" fmla="*/ 105680 w 200025"/>
                <a:gd name="connsiteY3" fmla="*/ 204616 h 238125"/>
                <a:gd name="connsiteX4" fmla="*/ 145704 w 200025"/>
                <a:gd name="connsiteY4" fmla="*/ 194253 h 238125"/>
                <a:gd name="connsiteX5" fmla="*/ 158753 w 200025"/>
                <a:gd name="connsiteY5" fmla="*/ 169926 h 238125"/>
                <a:gd name="connsiteX6" fmla="*/ 147228 w 200025"/>
                <a:gd name="connsiteY6" fmla="*/ 150219 h 238125"/>
                <a:gd name="connsiteX7" fmla="*/ 107204 w 200025"/>
                <a:gd name="connsiteY7" fmla="*/ 137703 h 238125"/>
                <a:gd name="connsiteX8" fmla="*/ 47482 w 200025"/>
                <a:gd name="connsiteY8" fmla="*/ 119948 h 238125"/>
                <a:gd name="connsiteX9" fmla="*/ 22260 w 200025"/>
                <a:gd name="connsiteY9" fmla="*/ 99212 h 238125"/>
                <a:gd name="connsiteX10" fmla="*/ 13669 w 200025"/>
                <a:gd name="connsiteY10" fmla="*/ 69961 h 238125"/>
                <a:gd name="connsiteX11" fmla="*/ 20736 w 200025"/>
                <a:gd name="connsiteY11" fmla="*/ 42967 h 238125"/>
                <a:gd name="connsiteX12" fmla="*/ 39986 w 200025"/>
                <a:gd name="connsiteY12" fmla="*/ 22336 h 238125"/>
                <a:gd name="connsiteX13" fmla="*/ 64884 w 200025"/>
                <a:gd name="connsiteY13" fmla="*/ 11554 h 238125"/>
                <a:gd name="connsiteX14" fmla="*/ 98717 w 200025"/>
                <a:gd name="connsiteY14" fmla="*/ 7144 h 238125"/>
                <a:gd name="connsiteX15" fmla="*/ 146466 w 200025"/>
                <a:gd name="connsiteY15" fmla="*/ 14526 h 238125"/>
                <a:gd name="connsiteX16" fmla="*/ 176813 w 200025"/>
                <a:gd name="connsiteY16" fmla="*/ 34547 h 238125"/>
                <a:gd name="connsiteX17" fmla="*/ 190300 w 200025"/>
                <a:gd name="connsiteY17" fmla="*/ 68313 h 238125"/>
                <a:gd name="connsiteX18" fmla="*/ 152010 w 200025"/>
                <a:gd name="connsiteY18" fmla="*/ 73247 h 238125"/>
                <a:gd name="connsiteX19" fmla="*/ 136893 w 200025"/>
                <a:gd name="connsiteY19" fmla="*/ 46968 h 238125"/>
                <a:gd name="connsiteX20" fmla="*/ 101546 w 200025"/>
                <a:gd name="connsiteY20" fmla="*/ 37529 h 238125"/>
                <a:gd name="connsiteX21" fmla="*/ 63037 w 200025"/>
                <a:gd name="connsiteY21" fmla="*/ 45949 h 238125"/>
                <a:gd name="connsiteX22" fmla="*/ 51511 w 200025"/>
                <a:gd name="connsiteY22" fmla="*/ 65656 h 238125"/>
                <a:gd name="connsiteX23" fmla="*/ 56293 w 200025"/>
                <a:gd name="connsiteY23" fmla="*/ 78581 h 238125"/>
                <a:gd name="connsiteX24" fmla="*/ 71304 w 200025"/>
                <a:gd name="connsiteY24" fmla="*/ 88430 h 238125"/>
                <a:gd name="connsiteX25" fmla="*/ 105889 w 200025"/>
                <a:gd name="connsiteY25" fmla="*/ 97869 h 238125"/>
                <a:gd name="connsiteX26" fmla="*/ 163868 w 200025"/>
                <a:gd name="connsiteY26" fmla="*/ 115014 h 238125"/>
                <a:gd name="connsiteX27" fmla="*/ 189643 w 200025"/>
                <a:gd name="connsiteY27" fmla="*/ 134417 h 238125"/>
                <a:gd name="connsiteX28" fmla="*/ 198987 w 200025"/>
                <a:gd name="connsiteY28" fmla="*/ 166021 h 238125"/>
                <a:gd name="connsiteX29" fmla="*/ 187576 w 200025"/>
                <a:gd name="connsiteY29" fmla="*/ 200816 h 238125"/>
                <a:gd name="connsiteX30" fmla="*/ 154619 w 200025"/>
                <a:gd name="connsiteY30" fmla="*/ 226066 h 238125"/>
                <a:gd name="connsiteX31" fmla="*/ 105889 w 200025"/>
                <a:gd name="connsiteY31" fmla="*/ 235001 h 238125"/>
                <a:gd name="connsiteX32" fmla="*/ 37262 w 200025"/>
                <a:gd name="connsiteY32" fmla="*/ 217341 h 238125"/>
                <a:gd name="connsiteX33" fmla="*/ 7144 w 200025"/>
                <a:gd name="connsiteY33" fmla="*/ 165002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00025" h="238125">
                  <a:moveTo>
                    <a:pt x="7144" y="165002"/>
                  </a:moveTo>
                  <a:lnTo>
                    <a:pt x="45863" y="159248"/>
                  </a:lnTo>
                  <a:cubicBezTo>
                    <a:pt x="48044" y="173898"/>
                    <a:pt x="54093" y="185118"/>
                    <a:pt x="64027" y="192910"/>
                  </a:cubicBezTo>
                  <a:cubicBezTo>
                    <a:pt x="73952" y="200711"/>
                    <a:pt x="87840" y="204616"/>
                    <a:pt x="105680" y="204616"/>
                  </a:cubicBezTo>
                  <a:cubicBezTo>
                    <a:pt x="123663" y="204616"/>
                    <a:pt x="137008" y="201168"/>
                    <a:pt x="145704" y="194253"/>
                  </a:cubicBezTo>
                  <a:cubicBezTo>
                    <a:pt x="154400" y="187338"/>
                    <a:pt x="158753" y="179232"/>
                    <a:pt x="158753" y="169926"/>
                  </a:cubicBezTo>
                  <a:cubicBezTo>
                    <a:pt x="158753" y="161573"/>
                    <a:pt x="154915" y="155010"/>
                    <a:pt x="147228" y="150219"/>
                  </a:cubicBezTo>
                  <a:cubicBezTo>
                    <a:pt x="141865" y="146933"/>
                    <a:pt x="128521" y="142761"/>
                    <a:pt x="107204" y="137703"/>
                  </a:cubicBezTo>
                  <a:cubicBezTo>
                    <a:pt x="78486" y="130855"/>
                    <a:pt x="58588" y="124939"/>
                    <a:pt x="47482" y="119948"/>
                  </a:cubicBezTo>
                  <a:cubicBezTo>
                    <a:pt x="36395" y="114957"/>
                    <a:pt x="27975" y="108042"/>
                    <a:pt x="22260" y="99212"/>
                  </a:cubicBezTo>
                  <a:cubicBezTo>
                    <a:pt x="16526" y="90383"/>
                    <a:pt x="13669" y="80639"/>
                    <a:pt x="13669" y="69961"/>
                  </a:cubicBezTo>
                  <a:cubicBezTo>
                    <a:pt x="13669" y="60236"/>
                    <a:pt x="16021" y="51245"/>
                    <a:pt x="20736" y="42967"/>
                  </a:cubicBezTo>
                  <a:cubicBezTo>
                    <a:pt x="25441" y="34690"/>
                    <a:pt x="31861" y="27813"/>
                    <a:pt x="39986" y="22336"/>
                  </a:cubicBezTo>
                  <a:cubicBezTo>
                    <a:pt x="46072" y="18097"/>
                    <a:pt x="54378" y="14507"/>
                    <a:pt x="64884" y="11554"/>
                  </a:cubicBezTo>
                  <a:cubicBezTo>
                    <a:pt x="75400" y="8611"/>
                    <a:pt x="86668" y="7144"/>
                    <a:pt x="98717" y="7144"/>
                  </a:cubicBezTo>
                  <a:cubicBezTo>
                    <a:pt x="116834" y="7144"/>
                    <a:pt x="132760" y="9611"/>
                    <a:pt x="146466" y="14526"/>
                  </a:cubicBezTo>
                  <a:cubicBezTo>
                    <a:pt x="160163" y="19460"/>
                    <a:pt x="170288" y="26127"/>
                    <a:pt x="176813" y="34547"/>
                  </a:cubicBezTo>
                  <a:cubicBezTo>
                    <a:pt x="183347" y="42967"/>
                    <a:pt x="187833" y="54216"/>
                    <a:pt x="190300" y="68313"/>
                  </a:cubicBezTo>
                  <a:lnTo>
                    <a:pt x="152010" y="73247"/>
                  </a:lnTo>
                  <a:cubicBezTo>
                    <a:pt x="150266" y="62027"/>
                    <a:pt x="145228" y="53264"/>
                    <a:pt x="136893" y="46968"/>
                  </a:cubicBezTo>
                  <a:cubicBezTo>
                    <a:pt x="128549" y="40681"/>
                    <a:pt x="116777" y="37529"/>
                    <a:pt x="101546" y="37529"/>
                  </a:cubicBezTo>
                  <a:cubicBezTo>
                    <a:pt x="83553" y="37529"/>
                    <a:pt x="70733" y="40338"/>
                    <a:pt x="63037" y="45949"/>
                  </a:cubicBezTo>
                  <a:cubicBezTo>
                    <a:pt x="55350" y="51559"/>
                    <a:pt x="51511" y="58131"/>
                    <a:pt x="51511" y="65656"/>
                  </a:cubicBezTo>
                  <a:cubicBezTo>
                    <a:pt x="51511" y="70447"/>
                    <a:pt x="53102" y="74752"/>
                    <a:pt x="56293" y="78581"/>
                  </a:cubicBezTo>
                  <a:cubicBezTo>
                    <a:pt x="59484" y="82553"/>
                    <a:pt x="64484" y="85839"/>
                    <a:pt x="71304" y="88430"/>
                  </a:cubicBezTo>
                  <a:cubicBezTo>
                    <a:pt x="75219" y="89802"/>
                    <a:pt x="86744" y="92955"/>
                    <a:pt x="105889" y="97869"/>
                  </a:cubicBezTo>
                  <a:cubicBezTo>
                    <a:pt x="133588" y="104851"/>
                    <a:pt x="152915" y="110566"/>
                    <a:pt x="163868" y="115014"/>
                  </a:cubicBezTo>
                  <a:cubicBezTo>
                    <a:pt x="174813" y="119462"/>
                    <a:pt x="183404" y="125930"/>
                    <a:pt x="189643" y="134417"/>
                  </a:cubicBezTo>
                  <a:cubicBezTo>
                    <a:pt x="195872" y="142904"/>
                    <a:pt x="198987" y="153438"/>
                    <a:pt x="198987" y="166021"/>
                  </a:cubicBezTo>
                  <a:cubicBezTo>
                    <a:pt x="198987" y="178346"/>
                    <a:pt x="195186" y="189938"/>
                    <a:pt x="187576" y="200816"/>
                  </a:cubicBezTo>
                  <a:cubicBezTo>
                    <a:pt x="179956" y="211703"/>
                    <a:pt x="168974" y="220113"/>
                    <a:pt x="154619" y="226066"/>
                  </a:cubicBezTo>
                  <a:cubicBezTo>
                    <a:pt x="140256" y="232019"/>
                    <a:pt x="124016" y="235001"/>
                    <a:pt x="105889" y="235001"/>
                  </a:cubicBezTo>
                  <a:cubicBezTo>
                    <a:pt x="75876" y="235001"/>
                    <a:pt x="52997" y="229114"/>
                    <a:pt x="37262" y="217341"/>
                  </a:cubicBezTo>
                  <a:cubicBezTo>
                    <a:pt x="21527" y="205569"/>
                    <a:pt x="11497" y="188138"/>
                    <a:pt x="7144" y="165002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3DF1E406-3DB0-4685-9480-8D4585AA7202}"/>
                </a:ext>
              </a:extLst>
            </p:cNvPr>
            <p:cNvSpPr/>
            <p:nvPr/>
          </p:nvSpPr>
          <p:spPr>
            <a:xfrm>
              <a:off x="5179536" y="3180766"/>
              <a:ext cx="200025" cy="228600"/>
            </a:xfrm>
            <a:custGeom>
              <a:avLst/>
              <a:gdLst>
                <a:gd name="connsiteX0" fmla="*/ 159420 w 200025"/>
                <a:gd name="connsiteY0" fmla="*/ 225171 h 228600"/>
                <a:gd name="connsiteX1" fmla="*/ 159420 w 200025"/>
                <a:gd name="connsiteY1" fmla="*/ 193148 h 228600"/>
                <a:gd name="connsiteX2" fmla="*/ 86115 w 200025"/>
                <a:gd name="connsiteY2" fmla="*/ 230105 h 228600"/>
                <a:gd name="connsiteX3" fmla="*/ 47930 w 200025"/>
                <a:gd name="connsiteY3" fmla="*/ 222714 h 228600"/>
                <a:gd name="connsiteX4" fmla="*/ 21612 w 200025"/>
                <a:gd name="connsiteY4" fmla="*/ 204140 h 228600"/>
                <a:gd name="connsiteX5" fmla="*/ 9534 w 200025"/>
                <a:gd name="connsiteY5" fmla="*/ 176736 h 228600"/>
                <a:gd name="connsiteX6" fmla="*/ 7144 w 200025"/>
                <a:gd name="connsiteY6" fmla="*/ 142246 h 228600"/>
                <a:gd name="connsiteX7" fmla="*/ 7144 w 200025"/>
                <a:gd name="connsiteY7" fmla="*/ 7163 h 228600"/>
                <a:gd name="connsiteX8" fmla="*/ 46291 w 200025"/>
                <a:gd name="connsiteY8" fmla="*/ 7163 h 228600"/>
                <a:gd name="connsiteX9" fmla="*/ 46291 w 200025"/>
                <a:gd name="connsiteY9" fmla="*/ 128073 h 228600"/>
                <a:gd name="connsiteX10" fmla="*/ 48682 w 200025"/>
                <a:gd name="connsiteY10" fmla="*/ 167078 h 228600"/>
                <a:gd name="connsiteX11" fmla="*/ 64351 w 200025"/>
                <a:gd name="connsiteY11" fmla="*/ 189967 h 228600"/>
                <a:gd name="connsiteX12" fmla="*/ 93926 w 200025"/>
                <a:gd name="connsiteY12" fmla="*/ 198282 h 228600"/>
                <a:gd name="connsiteX13" fmla="*/ 126997 w 200025"/>
                <a:gd name="connsiteY13" fmla="*/ 189757 h 228600"/>
                <a:gd name="connsiteX14" fmla="*/ 148857 w 200025"/>
                <a:gd name="connsiteY14" fmla="*/ 166554 h 228600"/>
                <a:gd name="connsiteX15" fmla="*/ 155277 w 200025"/>
                <a:gd name="connsiteY15" fmla="*/ 123958 h 228600"/>
                <a:gd name="connsiteX16" fmla="*/ 155277 w 200025"/>
                <a:gd name="connsiteY16" fmla="*/ 7144 h 228600"/>
                <a:gd name="connsiteX17" fmla="*/ 194434 w 200025"/>
                <a:gd name="connsiteY17" fmla="*/ 7144 h 228600"/>
                <a:gd name="connsiteX18" fmla="*/ 194434 w 200025"/>
                <a:gd name="connsiteY18" fmla="*/ 225162 h 228600"/>
                <a:gd name="connsiteX19" fmla="*/ 159420 w 200025"/>
                <a:gd name="connsiteY19" fmla="*/ 225162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0025" h="228600">
                  <a:moveTo>
                    <a:pt x="159420" y="225171"/>
                  </a:moveTo>
                  <a:lnTo>
                    <a:pt x="159420" y="193148"/>
                  </a:lnTo>
                  <a:cubicBezTo>
                    <a:pt x="141427" y="217789"/>
                    <a:pt x="116995" y="230105"/>
                    <a:pt x="86115" y="230105"/>
                  </a:cubicBezTo>
                  <a:cubicBezTo>
                    <a:pt x="72476" y="230105"/>
                    <a:pt x="59750" y="227638"/>
                    <a:pt x="47930" y="222714"/>
                  </a:cubicBezTo>
                  <a:cubicBezTo>
                    <a:pt x="36109" y="217789"/>
                    <a:pt x="27337" y="211598"/>
                    <a:pt x="21612" y="204140"/>
                  </a:cubicBezTo>
                  <a:cubicBezTo>
                    <a:pt x="15878" y="196682"/>
                    <a:pt x="11859" y="187547"/>
                    <a:pt x="9534" y="176736"/>
                  </a:cubicBezTo>
                  <a:cubicBezTo>
                    <a:pt x="7934" y="169478"/>
                    <a:pt x="7144" y="157982"/>
                    <a:pt x="7144" y="142246"/>
                  </a:cubicBezTo>
                  <a:lnTo>
                    <a:pt x="7144" y="7163"/>
                  </a:lnTo>
                  <a:lnTo>
                    <a:pt x="46291" y="7163"/>
                  </a:lnTo>
                  <a:lnTo>
                    <a:pt x="46291" y="128073"/>
                  </a:lnTo>
                  <a:cubicBezTo>
                    <a:pt x="46291" y="147371"/>
                    <a:pt x="47082" y="160382"/>
                    <a:pt x="48682" y="167078"/>
                  </a:cubicBezTo>
                  <a:cubicBezTo>
                    <a:pt x="51149" y="176803"/>
                    <a:pt x="56369" y="184423"/>
                    <a:pt x="64351" y="189967"/>
                  </a:cubicBezTo>
                  <a:cubicBezTo>
                    <a:pt x="72323" y="195510"/>
                    <a:pt x="82191" y="198282"/>
                    <a:pt x="93926" y="198282"/>
                  </a:cubicBezTo>
                  <a:cubicBezTo>
                    <a:pt x="105670" y="198282"/>
                    <a:pt x="116700" y="195443"/>
                    <a:pt x="126997" y="189757"/>
                  </a:cubicBezTo>
                  <a:cubicBezTo>
                    <a:pt x="137293" y="184080"/>
                    <a:pt x="144580" y="176346"/>
                    <a:pt x="148857" y="166554"/>
                  </a:cubicBezTo>
                  <a:cubicBezTo>
                    <a:pt x="153133" y="156763"/>
                    <a:pt x="155277" y="142570"/>
                    <a:pt x="155277" y="123958"/>
                  </a:cubicBezTo>
                  <a:lnTo>
                    <a:pt x="155277" y="7144"/>
                  </a:lnTo>
                  <a:lnTo>
                    <a:pt x="194434" y="7144"/>
                  </a:lnTo>
                  <a:lnTo>
                    <a:pt x="194434" y="225162"/>
                  </a:lnTo>
                  <a:lnTo>
                    <a:pt x="159420" y="225162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43E7EEFA-1A48-49DD-885E-F6D29D1291F1}"/>
                </a:ext>
              </a:extLst>
            </p:cNvPr>
            <p:cNvSpPr/>
            <p:nvPr/>
          </p:nvSpPr>
          <p:spPr>
            <a:xfrm>
              <a:off x="5429977" y="3097842"/>
              <a:ext cx="47625" cy="314325"/>
            </a:xfrm>
            <a:custGeom>
              <a:avLst/>
              <a:gdLst>
                <a:gd name="connsiteX0" fmla="*/ 7144 w 47625"/>
                <a:gd name="connsiteY0" fmla="*/ 308096 h 314325"/>
                <a:gd name="connsiteX1" fmla="*/ 7144 w 47625"/>
                <a:gd name="connsiteY1" fmla="*/ 7144 h 314325"/>
                <a:gd name="connsiteX2" fmla="*/ 46291 w 47625"/>
                <a:gd name="connsiteY2" fmla="*/ 7144 h 314325"/>
                <a:gd name="connsiteX3" fmla="*/ 46291 w 47625"/>
                <a:gd name="connsiteY3" fmla="*/ 308096 h 314325"/>
                <a:gd name="connsiteX4" fmla="*/ 7144 w 47625"/>
                <a:gd name="connsiteY4" fmla="*/ 308096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314325">
                  <a:moveTo>
                    <a:pt x="7144" y="308096"/>
                  </a:moveTo>
                  <a:lnTo>
                    <a:pt x="7144" y="7144"/>
                  </a:lnTo>
                  <a:lnTo>
                    <a:pt x="46291" y="7144"/>
                  </a:lnTo>
                  <a:lnTo>
                    <a:pt x="46291" y="308096"/>
                  </a:lnTo>
                  <a:lnTo>
                    <a:pt x="7144" y="308096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1D28DCDF-0595-487A-A35C-48CF77618FF6}"/>
                </a:ext>
              </a:extLst>
            </p:cNvPr>
            <p:cNvSpPr/>
            <p:nvPr/>
          </p:nvSpPr>
          <p:spPr>
            <a:xfrm>
              <a:off x="5510958" y="3104623"/>
              <a:ext cx="123825" cy="304800"/>
            </a:xfrm>
            <a:custGeom>
              <a:avLst/>
              <a:gdLst>
                <a:gd name="connsiteX0" fmla="*/ 114167 w 123825"/>
                <a:gd name="connsiteY0" fmla="*/ 268262 h 304800"/>
                <a:gd name="connsiteX1" fmla="*/ 119825 w 123825"/>
                <a:gd name="connsiteY1" fmla="*/ 300904 h 304800"/>
                <a:gd name="connsiteX2" fmla="*/ 90240 w 123825"/>
                <a:gd name="connsiteY2" fmla="*/ 304190 h 304800"/>
                <a:gd name="connsiteX3" fmla="*/ 57178 w 123825"/>
                <a:gd name="connsiteY3" fmla="*/ 297828 h 304800"/>
                <a:gd name="connsiteX4" fmla="*/ 40643 w 123825"/>
                <a:gd name="connsiteY4" fmla="*/ 281092 h 304800"/>
                <a:gd name="connsiteX5" fmla="*/ 35862 w 123825"/>
                <a:gd name="connsiteY5" fmla="*/ 237468 h 304800"/>
                <a:gd name="connsiteX6" fmla="*/ 35862 w 123825"/>
                <a:gd name="connsiteY6" fmla="*/ 112043 h 304800"/>
                <a:gd name="connsiteX7" fmla="*/ 7144 w 123825"/>
                <a:gd name="connsiteY7" fmla="*/ 112043 h 304800"/>
                <a:gd name="connsiteX8" fmla="*/ 7144 w 123825"/>
                <a:gd name="connsiteY8" fmla="*/ 83296 h 304800"/>
                <a:gd name="connsiteX9" fmla="*/ 35862 w 123825"/>
                <a:gd name="connsiteY9" fmla="*/ 83296 h 304800"/>
                <a:gd name="connsiteX10" fmla="*/ 35862 w 123825"/>
                <a:gd name="connsiteY10" fmla="*/ 29309 h 304800"/>
                <a:gd name="connsiteX11" fmla="*/ 74800 w 123825"/>
                <a:gd name="connsiteY11" fmla="*/ 7144 h 304800"/>
                <a:gd name="connsiteX12" fmla="*/ 74800 w 123825"/>
                <a:gd name="connsiteY12" fmla="*/ 83296 h 304800"/>
                <a:gd name="connsiteX13" fmla="*/ 114176 w 123825"/>
                <a:gd name="connsiteY13" fmla="*/ 83296 h 304800"/>
                <a:gd name="connsiteX14" fmla="*/ 114176 w 123825"/>
                <a:gd name="connsiteY14" fmla="*/ 112043 h 304800"/>
                <a:gd name="connsiteX15" fmla="*/ 74800 w 123825"/>
                <a:gd name="connsiteY15" fmla="*/ 112043 h 304800"/>
                <a:gd name="connsiteX16" fmla="*/ 74800 w 123825"/>
                <a:gd name="connsiteY16" fmla="*/ 239525 h 304800"/>
                <a:gd name="connsiteX17" fmla="*/ 76867 w 123825"/>
                <a:gd name="connsiteY17" fmla="*/ 259852 h 304800"/>
                <a:gd name="connsiteX18" fmla="*/ 83611 w 123825"/>
                <a:gd name="connsiteY18" fmla="*/ 267033 h 304800"/>
                <a:gd name="connsiteX19" fmla="*/ 96984 w 123825"/>
                <a:gd name="connsiteY19" fmla="*/ 269700 h 304800"/>
                <a:gd name="connsiteX20" fmla="*/ 114167 w 123825"/>
                <a:gd name="connsiteY20" fmla="*/ 268262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3825" h="304800">
                  <a:moveTo>
                    <a:pt x="114167" y="268262"/>
                  </a:moveTo>
                  <a:lnTo>
                    <a:pt x="119825" y="300904"/>
                  </a:lnTo>
                  <a:cubicBezTo>
                    <a:pt x="108804" y="303086"/>
                    <a:pt x="98946" y="304190"/>
                    <a:pt x="90240" y="304190"/>
                  </a:cubicBezTo>
                  <a:cubicBezTo>
                    <a:pt x="76029" y="304190"/>
                    <a:pt x="65008" y="302066"/>
                    <a:pt x="57178" y="297828"/>
                  </a:cubicBezTo>
                  <a:cubicBezTo>
                    <a:pt x="49349" y="293589"/>
                    <a:pt x="43834" y="288007"/>
                    <a:pt x="40643" y="281092"/>
                  </a:cubicBezTo>
                  <a:cubicBezTo>
                    <a:pt x="37452" y="274177"/>
                    <a:pt x="35862" y="259642"/>
                    <a:pt x="35862" y="237468"/>
                  </a:cubicBezTo>
                  <a:lnTo>
                    <a:pt x="35862" y="112043"/>
                  </a:lnTo>
                  <a:lnTo>
                    <a:pt x="7144" y="112043"/>
                  </a:lnTo>
                  <a:lnTo>
                    <a:pt x="7144" y="83296"/>
                  </a:lnTo>
                  <a:lnTo>
                    <a:pt x="35862" y="83296"/>
                  </a:lnTo>
                  <a:lnTo>
                    <a:pt x="35862" y="29309"/>
                  </a:lnTo>
                  <a:lnTo>
                    <a:pt x="74800" y="7144"/>
                  </a:lnTo>
                  <a:lnTo>
                    <a:pt x="74800" y="83296"/>
                  </a:lnTo>
                  <a:lnTo>
                    <a:pt x="114176" y="83296"/>
                  </a:lnTo>
                  <a:lnTo>
                    <a:pt x="114176" y="112043"/>
                  </a:lnTo>
                  <a:lnTo>
                    <a:pt x="74800" y="112043"/>
                  </a:lnTo>
                  <a:lnTo>
                    <a:pt x="74800" y="239525"/>
                  </a:lnTo>
                  <a:cubicBezTo>
                    <a:pt x="74800" y="250060"/>
                    <a:pt x="75486" y="256842"/>
                    <a:pt x="76867" y="259852"/>
                  </a:cubicBezTo>
                  <a:cubicBezTo>
                    <a:pt x="78248" y="262861"/>
                    <a:pt x="80496" y="265252"/>
                    <a:pt x="83611" y="267033"/>
                  </a:cubicBezTo>
                  <a:cubicBezTo>
                    <a:pt x="86725" y="268824"/>
                    <a:pt x="91183" y="269700"/>
                    <a:pt x="96984" y="269700"/>
                  </a:cubicBezTo>
                  <a:cubicBezTo>
                    <a:pt x="101327" y="269700"/>
                    <a:pt x="107061" y="269224"/>
                    <a:pt x="114167" y="268262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AF734EED-C36F-49C2-BE94-C215BF5082D8}"/>
                </a:ext>
              </a:extLst>
            </p:cNvPr>
            <p:cNvSpPr/>
            <p:nvPr/>
          </p:nvSpPr>
          <p:spPr>
            <a:xfrm>
              <a:off x="5645670" y="3175861"/>
              <a:ext cx="219075" cy="238125"/>
            </a:xfrm>
            <a:custGeom>
              <a:avLst/>
              <a:gdLst>
                <a:gd name="connsiteX0" fmla="*/ 171155 w 219075"/>
                <a:gd name="connsiteY0" fmla="*/ 203187 h 238125"/>
                <a:gd name="connsiteX1" fmla="*/ 129283 w 219075"/>
                <a:gd name="connsiteY1" fmla="*/ 227819 h 238125"/>
                <a:gd name="connsiteX2" fmla="*/ 86106 w 219075"/>
                <a:gd name="connsiteY2" fmla="*/ 235010 h 238125"/>
                <a:gd name="connsiteX3" fmla="*/ 27584 w 219075"/>
                <a:gd name="connsiteY3" fmla="*/ 217456 h 238125"/>
                <a:gd name="connsiteX4" fmla="*/ 7144 w 219075"/>
                <a:gd name="connsiteY4" fmla="*/ 172603 h 238125"/>
                <a:gd name="connsiteX5" fmla="*/ 14869 w 219075"/>
                <a:gd name="connsiteY5" fmla="*/ 143351 h 238125"/>
                <a:gd name="connsiteX6" fmla="*/ 35100 w 219075"/>
                <a:gd name="connsiteY6" fmla="*/ 122111 h 238125"/>
                <a:gd name="connsiteX7" fmla="*/ 63265 w 219075"/>
                <a:gd name="connsiteY7" fmla="*/ 109995 h 238125"/>
                <a:gd name="connsiteX8" fmla="*/ 98069 w 219075"/>
                <a:gd name="connsiteY8" fmla="*/ 104461 h 238125"/>
                <a:gd name="connsiteX9" fmla="*/ 167897 w 219075"/>
                <a:gd name="connsiteY9" fmla="*/ 91726 h 238125"/>
                <a:gd name="connsiteX10" fmla="*/ 168107 w 219075"/>
                <a:gd name="connsiteY10" fmla="*/ 82077 h 238125"/>
                <a:gd name="connsiteX11" fmla="*/ 157010 w 219075"/>
                <a:gd name="connsiteY11" fmla="*/ 50254 h 238125"/>
                <a:gd name="connsiteX12" fmla="*/ 112414 w 219075"/>
                <a:gd name="connsiteY12" fmla="*/ 37738 h 238125"/>
                <a:gd name="connsiteX13" fmla="*/ 71628 w 219075"/>
                <a:gd name="connsiteY13" fmla="*/ 46873 h 238125"/>
                <a:gd name="connsiteX14" fmla="*/ 52159 w 219075"/>
                <a:gd name="connsiteY14" fmla="*/ 79210 h 238125"/>
                <a:gd name="connsiteX15" fmla="*/ 13868 w 219075"/>
                <a:gd name="connsiteY15" fmla="*/ 74276 h 238125"/>
                <a:gd name="connsiteX16" fmla="*/ 31061 w 219075"/>
                <a:gd name="connsiteY16" fmla="*/ 36814 h 238125"/>
                <a:gd name="connsiteX17" fmla="*/ 65646 w 219075"/>
                <a:gd name="connsiteY17" fmla="*/ 14840 h 238125"/>
                <a:gd name="connsiteX18" fmla="*/ 118072 w 219075"/>
                <a:gd name="connsiteY18" fmla="*/ 7144 h 238125"/>
                <a:gd name="connsiteX19" fmla="*/ 166145 w 219075"/>
                <a:gd name="connsiteY19" fmla="*/ 13706 h 238125"/>
                <a:gd name="connsiteX20" fmla="*/ 193338 w 219075"/>
                <a:gd name="connsiteY20" fmla="*/ 30232 h 238125"/>
                <a:gd name="connsiteX21" fmla="*/ 205511 w 219075"/>
                <a:gd name="connsiteY21" fmla="*/ 55378 h 238125"/>
                <a:gd name="connsiteX22" fmla="*/ 207474 w 219075"/>
                <a:gd name="connsiteY22" fmla="*/ 89459 h 238125"/>
                <a:gd name="connsiteX23" fmla="*/ 207474 w 219075"/>
                <a:gd name="connsiteY23" fmla="*/ 138722 h 238125"/>
                <a:gd name="connsiteX24" fmla="*/ 209979 w 219075"/>
                <a:gd name="connsiteY24" fmla="*/ 203902 h 238125"/>
                <a:gd name="connsiteX25" fmla="*/ 219875 w 219075"/>
                <a:gd name="connsiteY25" fmla="*/ 230076 h 238125"/>
                <a:gd name="connsiteX26" fmla="*/ 178975 w 219075"/>
                <a:gd name="connsiteY26" fmla="*/ 230076 h 238125"/>
                <a:gd name="connsiteX27" fmla="*/ 171155 w 219075"/>
                <a:gd name="connsiteY27" fmla="*/ 203187 h 238125"/>
                <a:gd name="connsiteX28" fmla="*/ 167897 w 219075"/>
                <a:gd name="connsiteY28" fmla="*/ 120663 h 238125"/>
                <a:gd name="connsiteX29" fmla="*/ 103937 w 219075"/>
                <a:gd name="connsiteY29" fmla="*/ 134626 h 238125"/>
                <a:gd name="connsiteX30" fmla="*/ 69790 w 219075"/>
                <a:gd name="connsiteY30" fmla="*/ 142008 h 238125"/>
                <a:gd name="connsiteX31" fmla="*/ 54340 w 219075"/>
                <a:gd name="connsiteY31" fmla="*/ 154019 h 238125"/>
                <a:gd name="connsiteX32" fmla="*/ 48911 w 219075"/>
                <a:gd name="connsiteY32" fmla="*/ 171574 h 238125"/>
                <a:gd name="connsiteX33" fmla="*/ 60760 w 219075"/>
                <a:gd name="connsiteY33" fmla="*/ 196215 h 238125"/>
                <a:gd name="connsiteX34" fmla="*/ 95460 w 219075"/>
                <a:gd name="connsiteY34" fmla="*/ 206064 h 238125"/>
                <a:gd name="connsiteX35" fmla="*/ 135703 w 219075"/>
                <a:gd name="connsiteY35" fmla="*/ 196729 h 238125"/>
                <a:gd name="connsiteX36" fmla="*/ 161592 w 219075"/>
                <a:gd name="connsiteY36" fmla="*/ 171164 h 238125"/>
                <a:gd name="connsiteX37" fmla="*/ 167907 w 219075"/>
                <a:gd name="connsiteY37" fmla="*/ 134217 h 238125"/>
                <a:gd name="connsiteX38" fmla="*/ 167907 w 219075"/>
                <a:gd name="connsiteY38" fmla="*/ 120663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19075" h="238125">
                  <a:moveTo>
                    <a:pt x="171155" y="203187"/>
                  </a:moveTo>
                  <a:cubicBezTo>
                    <a:pt x="156658" y="214827"/>
                    <a:pt x="142694" y="223028"/>
                    <a:pt x="129283" y="227819"/>
                  </a:cubicBezTo>
                  <a:cubicBezTo>
                    <a:pt x="115862" y="232610"/>
                    <a:pt x="101470" y="235010"/>
                    <a:pt x="86106" y="235010"/>
                  </a:cubicBezTo>
                  <a:cubicBezTo>
                    <a:pt x="60722" y="235010"/>
                    <a:pt x="41215" y="229162"/>
                    <a:pt x="27584" y="217456"/>
                  </a:cubicBezTo>
                  <a:cubicBezTo>
                    <a:pt x="13944" y="205750"/>
                    <a:pt x="7144" y="190805"/>
                    <a:pt x="7144" y="172603"/>
                  </a:cubicBezTo>
                  <a:cubicBezTo>
                    <a:pt x="7144" y="161925"/>
                    <a:pt x="9715" y="152171"/>
                    <a:pt x="14869" y="143351"/>
                  </a:cubicBezTo>
                  <a:cubicBezTo>
                    <a:pt x="20012" y="134522"/>
                    <a:pt x="26756" y="127435"/>
                    <a:pt x="35100" y="122111"/>
                  </a:cubicBezTo>
                  <a:cubicBezTo>
                    <a:pt x="43434" y="116767"/>
                    <a:pt x="52826" y="112738"/>
                    <a:pt x="63265" y="109995"/>
                  </a:cubicBezTo>
                  <a:cubicBezTo>
                    <a:pt x="70952" y="108090"/>
                    <a:pt x="82544" y="106232"/>
                    <a:pt x="98069" y="104461"/>
                  </a:cubicBezTo>
                  <a:cubicBezTo>
                    <a:pt x="129673" y="100898"/>
                    <a:pt x="152962" y="96660"/>
                    <a:pt x="167897" y="91726"/>
                  </a:cubicBezTo>
                  <a:cubicBezTo>
                    <a:pt x="168040" y="86668"/>
                    <a:pt x="168107" y="83449"/>
                    <a:pt x="168107" y="82077"/>
                  </a:cubicBezTo>
                  <a:cubicBezTo>
                    <a:pt x="168107" y="67027"/>
                    <a:pt x="164402" y="56417"/>
                    <a:pt x="157010" y="50254"/>
                  </a:cubicBezTo>
                  <a:cubicBezTo>
                    <a:pt x="147009" y="41910"/>
                    <a:pt x="132140" y="37738"/>
                    <a:pt x="112414" y="37738"/>
                  </a:cubicBezTo>
                  <a:cubicBezTo>
                    <a:pt x="93993" y="37738"/>
                    <a:pt x="80410" y="40786"/>
                    <a:pt x="71628" y="46873"/>
                  </a:cubicBezTo>
                  <a:cubicBezTo>
                    <a:pt x="62855" y="52969"/>
                    <a:pt x="56359" y="63741"/>
                    <a:pt x="52159" y="79210"/>
                  </a:cubicBezTo>
                  <a:lnTo>
                    <a:pt x="13868" y="74276"/>
                  </a:lnTo>
                  <a:cubicBezTo>
                    <a:pt x="17354" y="58817"/>
                    <a:pt x="23079" y="46330"/>
                    <a:pt x="31061" y="36814"/>
                  </a:cubicBezTo>
                  <a:cubicBezTo>
                    <a:pt x="39033" y="27299"/>
                    <a:pt x="50568" y="19974"/>
                    <a:pt x="65646" y="14840"/>
                  </a:cubicBezTo>
                  <a:cubicBezTo>
                    <a:pt x="80734" y="9716"/>
                    <a:pt x="98203" y="7144"/>
                    <a:pt x="118072" y="7144"/>
                  </a:cubicBezTo>
                  <a:cubicBezTo>
                    <a:pt x="137789" y="7144"/>
                    <a:pt x="153819" y="9325"/>
                    <a:pt x="166145" y="13706"/>
                  </a:cubicBezTo>
                  <a:cubicBezTo>
                    <a:pt x="178470" y="18088"/>
                    <a:pt x="187538" y="23593"/>
                    <a:pt x="193338" y="30232"/>
                  </a:cubicBezTo>
                  <a:cubicBezTo>
                    <a:pt x="199130" y="36862"/>
                    <a:pt x="203197" y="45244"/>
                    <a:pt x="205511" y="55378"/>
                  </a:cubicBezTo>
                  <a:cubicBezTo>
                    <a:pt x="206826" y="61674"/>
                    <a:pt x="207474" y="73038"/>
                    <a:pt x="207474" y="89459"/>
                  </a:cubicBezTo>
                  <a:lnTo>
                    <a:pt x="207474" y="138722"/>
                  </a:lnTo>
                  <a:cubicBezTo>
                    <a:pt x="207474" y="173069"/>
                    <a:pt x="208302" y="194805"/>
                    <a:pt x="209979" y="203902"/>
                  </a:cubicBezTo>
                  <a:cubicBezTo>
                    <a:pt x="211646" y="213008"/>
                    <a:pt x="214941" y="221733"/>
                    <a:pt x="219875" y="230076"/>
                  </a:cubicBezTo>
                  <a:lnTo>
                    <a:pt x="178975" y="230076"/>
                  </a:lnTo>
                  <a:cubicBezTo>
                    <a:pt x="174927" y="222409"/>
                    <a:pt x="172317" y="213446"/>
                    <a:pt x="171155" y="203187"/>
                  </a:cubicBezTo>
                  <a:close/>
                  <a:moveTo>
                    <a:pt x="167897" y="120663"/>
                  </a:moveTo>
                  <a:cubicBezTo>
                    <a:pt x="153676" y="126140"/>
                    <a:pt x="132369" y="130788"/>
                    <a:pt x="103937" y="134626"/>
                  </a:cubicBezTo>
                  <a:cubicBezTo>
                    <a:pt x="87849" y="136808"/>
                    <a:pt x="76457" y="139275"/>
                    <a:pt x="69790" y="142008"/>
                  </a:cubicBezTo>
                  <a:cubicBezTo>
                    <a:pt x="63113" y="144751"/>
                    <a:pt x="57969" y="148752"/>
                    <a:pt x="54340" y="154019"/>
                  </a:cubicBezTo>
                  <a:cubicBezTo>
                    <a:pt x="50711" y="159296"/>
                    <a:pt x="48911" y="165144"/>
                    <a:pt x="48911" y="171574"/>
                  </a:cubicBezTo>
                  <a:cubicBezTo>
                    <a:pt x="48911" y="181432"/>
                    <a:pt x="52854" y="189633"/>
                    <a:pt x="60760" y="196215"/>
                  </a:cubicBezTo>
                  <a:cubicBezTo>
                    <a:pt x="68666" y="202778"/>
                    <a:pt x="80229" y="206064"/>
                    <a:pt x="95460" y="206064"/>
                  </a:cubicBezTo>
                  <a:cubicBezTo>
                    <a:pt x="110538" y="206064"/>
                    <a:pt x="123958" y="202949"/>
                    <a:pt x="135703" y="196729"/>
                  </a:cubicBezTo>
                  <a:cubicBezTo>
                    <a:pt x="147447" y="190500"/>
                    <a:pt x="156086" y="181985"/>
                    <a:pt x="161592" y="171164"/>
                  </a:cubicBezTo>
                  <a:cubicBezTo>
                    <a:pt x="165792" y="162820"/>
                    <a:pt x="167907" y="150504"/>
                    <a:pt x="167907" y="134217"/>
                  </a:cubicBezTo>
                  <a:lnTo>
                    <a:pt x="167907" y="120663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E151ED61-25C2-47B8-8880-0C23485713E2}"/>
                </a:ext>
              </a:extLst>
            </p:cNvPr>
            <p:cNvSpPr/>
            <p:nvPr/>
          </p:nvSpPr>
          <p:spPr>
            <a:xfrm>
              <a:off x="5909360" y="3175861"/>
              <a:ext cx="200025" cy="228600"/>
            </a:xfrm>
            <a:custGeom>
              <a:avLst/>
              <a:gdLst>
                <a:gd name="connsiteX0" fmla="*/ 7144 w 200025"/>
                <a:gd name="connsiteY0" fmla="*/ 230076 h 228600"/>
                <a:gd name="connsiteX1" fmla="*/ 7144 w 200025"/>
                <a:gd name="connsiteY1" fmla="*/ 12059 h 228600"/>
                <a:gd name="connsiteX2" fmla="*/ 42386 w 200025"/>
                <a:gd name="connsiteY2" fmla="*/ 12059 h 228600"/>
                <a:gd name="connsiteX3" fmla="*/ 42386 w 200025"/>
                <a:gd name="connsiteY3" fmla="*/ 43062 h 228600"/>
                <a:gd name="connsiteX4" fmla="*/ 115910 w 200025"/>
                <a:gd name="connsiteY4" fmla="*/ 7144 h 228600"/>
                <a:gd name="connsiteX5" fmla="*/ 154305 w 200025"/>
                <a:gd name="connsiteY5" fmla="*/ 14221 h 228600"/>
                <a:gd name="connsiteX6" fmla="*/ 180508 w 200025"/>
                <a:gd name="connsiteY6" fmla="*/ 32795 h 228600"/>
                <a:gd name="connsiteX7" fmla="*/ 192691 w 200025"/>
                <a:gd name="connsiteY7" fmla="*/ 60103 h 228600"/>
                <a:gd name="connsiteX8" fmla="*/ 194872 w 200025"/>
                <a:gd name="connsiteY8" fmla="*/ 96021 h 228600"/>
                <a:gd name="connsiteX9" fmla="*/ 194872 w 200025"/>
                <a:gd name="connsiteY9" fmla="*/ 230067 h 228600"/>
                <a:gd name="connsiteX10" fmla="*/ 155724 w 200025"/>
                <a:gd name="connsiteY10" fmla="*/ 230067 h 228600"/>
                <a:gd name="connsiteX11" fmla="*/ 155724 w 200025"/>
                <a:gd name="connsiteY11" fmla="*/ 97450 h 228600"/>
                <a:gd name="connsiteX12" fmla="*/ 151152 w 200025"/>
                <a:gd name="connsiteY12" fmla="*/ 63684 h 228600"/>
                <a:gd name="connsiteX13" fmla="*/ 134950 w 200025"/>
                <a:gd name="connsiteY13" fmla="*/ 45825 h 228600"/>
                <a:gd name="connsiteX14" fmla="*/ 107652 w 200025"/>
                <a:gd name="connsiteY14" fmla="*/ 39157 h 228600"/>
                <a:gd name="connsiteX15" fmla="*/ 64475 w 200025"/>
                <a:gd name="connsiteY15" fmla="*/ 54140 h 228600"/>
                <a:gd name="connsiteX16" fmla="*/ 46311 w 200025"/>
                <a:gd name="connsiteY16" fmla="*/ 111004 h 228600"/>
                <a:gd name="connsiteX17" fmla="*/ 46311 w 200025"/>
                <a:gd name="connsiteY17" fmla="*/ 230067 h 228600"/>
                <a:gd name="connsiteX18" fmla="*/ 7144 w 200025"/>
                <a:gd name="connsiteY18" fmla="*/ 230067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0025" h="228600">
                  <a:moveTo>
                    <a:pt x="7144" y="230076"/>
                  </a:moveTo>
                  <a:lnTo>
                    <a:pt x="7144" y="12059"/>
                  </a:lnTo>
                  <a:lnTo>
                    <a:pt x="42386" y="12059"/>
                  </a:lnTo>
                  <a:lnTo>
                    <a:pt x="42386" y="43062"/>
                  </a:lnTo>
                  <a:cubicBezTo>
                    <a:pt x="59350" y="19107"/>
                    <a:pt x="83858" y="7144"/>
                    <a:pt x="115910" y="7144"/>
                  </a:cubicBezTo>
                  <a:cubicBezTo>
                    <a:pt x="129835" y="7144"/>
                    <a:pt x="142627" y="9506"/>
                    <a:pt x="154305" y="14221"/>
                  </a:cubicBezTo>
                  <a:cubicBezTo>
                    <a:pt x="165973" y="18945"/>
                    <a:pt x="174717" y="25136"/>
                    <a:pt x="180508" y="32795"/>
                  </a:cubicBezTo>
                  <a:cubicBezTo>
                    <a:pt x="186309" y="40472"/>
                    <a:pt x="190376" y="49568"/>
                    <a:pt x="192691" y="60103"/>
                  </a:cubicBezTo>
                  <a:cubicBezTo>
                    <a:pt x="194139" y="66951"/>
                    <a:pt x="194872" y="78924"/>
                    <a:pt x="194872" y="96021"/>
                  </a:cubicBezTo>
                  <a:lnTo>
                    <a:pt x="194872" y="230067"/>
                  </a:lnTo>
                  <a:lnTo>
                    <a:pt x="155724" y="230067"/>
                  </a:lnTo>
                  <a:lnTo>
                    <a:pt x="155724" y="97450"/>
                  </a:lnTo>
                  <a:cubicBezTo>
                    <a:pt x="155724" y="82401"/>
                    <a:pt x="154200" y="71142"/>
                    <a:pt x="151152" y="63684"/>
                  </a:cubicBezTo>
                  <a:cubicBezTo>
                    <a:pt x="148114" y="56226"/>
                    <a:pt x="142704" y="50273"/>
                    <a:pt x="134950" y="45825"/>
                  </a:cubicBezTo>
                  <a:cubicBezTo>
                    <a:pt x="127197" y="41377"/>
                    <a:pt x="118091" y="39157"/>
                    <a:pt x="107652" y="39157"/>
                  </a:cubicBezTo>
                  <a:cubicBezTo>
                    <a:pt x="90973" y="39157"/>
                    <a:pt x="76581" y="44148"/>
                    <a:pt x="64475" y="54140"/>
                  </a:cubicBezTo>
                  <a:cubicBezTo>
                    <a:pt x="52369" y="64132"/>
                    <a:pt x="46311" y="83077"/>
                    <a:pt x="46311" y="111004"/>
                  </a:cubicBezTo>
                  <a:lnTo>
                    <a:pt x="46311" y="230067"/>
                  </a:lnTo>
                  <a:lnTo>
                    <a:pt x="7144" y="230067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07955827-545D-4013-ACE8-1253A9729DFB}"/>
                </a:ext>
              </a:extLst>
            </p:cNvPr>
            <p:cNvSpPr/>
            <p:nvPr/>
          </p:nvSpPr>
          <p:spPr>
            <a:xfrm>
              <a:off x="6138265" y="3104623"/>
              <a:ext cx="123825" cy="304800"/>
            </a:xfrm>
            <a:custGeom>
              <a:avLst/>
              <a:gdLst>
                <a:gd name="connsiteX0" fmla="*/ 114167 w 123825"/>
                <a:gd name="connsiteY0" fmla="*/ 268262 h 304800"/>
                <a:gd name="connsiteX1" fmla="*/ 119824 w 123825"/>
                <a:gd name="connsiteY1" fmla="*/ 300904 h 304800"/>
                <a:gd name="connsiteX2" fmla="*/ 90240 w 123825"/>
                <a:gd name="connsiteY2" fmla="*/ 304190 h 304800"/>
                <a:gd name="connsiteX3" fmla="*/ 57178 w 123825"/>
                <a:gd name="connsiteY3" fmla="*/ 297828 h 304800"/>
                <a:gd name="connsiteX4" fmla="*/ 40643 w 123825"/>
                <a:gd name="connsiteY4" fmla="*/ 281092 h 304800"/>
                <a:gd name="connsiteX5" fmla="*/ 35861 w 123825"/>
                <a:gd name="connsiteY5" fmla="*/ 237468 h 304800"/>
                <a:gd name="connsiteX6" fmla="*/ 35861 w 123825"/>
                <a:gd name="connsiteY6" fmla="*/ 112043 h 304800"/>
                <a:gd name="connsiteX7" fmla="*/ 7144 w 123825"/>
                <a:gd name="connsiteY7" fmla="*/ 112043 h 304800"/>
                <a:gd name="connsiteX8" fmla="*/ 7144 w 123825"/>
                <a:gd name="connsiteY8" fmla="*/ 83296 h 304800"/>
                <a:gd name="connsiteX9" fmla="*/ 35861 w 123825"/>
                <a:gd name="connsiteY9" fmla="*/ 83296 h 304800"/>
                <a:gd name="connsiteX10" fmla="*/ 35861 w 123825"/>
                <a:gd name="connsiteY10" fmla="*/ 29309 h 304800"/>
                <a:gd name="connsiteX11" fmla="*/ 74800 w 123825"/>
                <a:gd name="connsiteY11" fmla="*/ 7144 h 304800"/>
                <a:gd name="connsiteX12" fmla="*/ 74800 w 123825"/>
                <a:gd name="connsiteY12" fmla="*/ 83296 h 304800"/>
                <a:gd name="connsiteX13" fmla="*/ 114176 w 123825"/>
                <a:gd name="connsiteY13" fmla="*/ 83296 h 304800"/>
                <a:gd name="connsiteX14" fmla="*/ 114176 w 123825"/>
                <a:gd name="connsiteY14" fmla="*/ 112043 h 304800"/>
                <a:gd name="connsiteX15" fmla="*/ 74800 w 123825"/>
                <a:gd name="connsiteY15" fmla="*/ 112043 h 304800"/>
                <a:gd name="connsiteX16" fmla="*/ 74800 w 123825"/>
                <a:gd name="connsiteY16" fmla="*/ 239525 h 304800"/>
                <a:gd name="connsiteX17" fmla="*/ 76867 w 123825"/>
                <a:gd name="connsiteY17" fmla="*/ 259852 h 304800"/>
                <a:gd name="connsiteX18" fmla="*/ 83610 w 123825"/>
                <a:gd name="connsiteY18" fmla="*/ 267033 h 304800"/>
                <a:gd name="connsiteX19" fmla="*/ 96984 w 123825"/>
                <a:gd name="connsiteY19" fmla="*/ 269700 h 304800"/>
                <a:gd name="connsiteX20" fmla="*/ 114167 w 123825"/>
                <a:gd name="connsiteY20" fmla="*/ 268262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3825" h="304800">
                  <a:moveTo>
                    <a:pt x="114167" y="268262"/>
                  </a:moveTo>
                  <a:lnTo>
                    <a:pt x="119824" y="300904"/>
                  </a:lnTo>
                  <a:cubicBezTo>
                    <a:pt x="108804" y="303086"/>
                    <a:pt x="98946" y="304190"/>
                    <a:pt x="90240" y="304190"/>
                  </a:cubicBezTo>
                  <a:cubicBezTo>
                    <a:pt x="76029" y="304190"/>
                    <a:pt x="65008" y="302066"/>
                    <a:pt x="57178" y="297828"/>
                  </a:cubicBezTo>
                  <a:cubicBezTo>
                    <a:pt x="49349" y="293589"/>
                    <a:pt x="43834" y="288007"/>
                    <a:pt x="40643" y="281092"/>
                  </a:cubicBezTo>
                  <a:cubicBezTo>
                    <a:pt x="37452" y="274177"/>
                    <a:pt x="35861" y="259642"/>
                    <a:pt x="35861" y="237468"/>
                  </a:cubicBezTo>
                  <a:lnTo>
                    <a:pt x="35861" y="112043"/>
                  </a:lnTo>
                  <a:lnTo>
                    <a:pt x="7144" y="112043"/>
                  </a:lnTo>
                  <a:lnTo>
                    <a:pt x="7144" y="83296"/>
                  </a:lnTo>
                  <a:lnTo>
                    <a:pt x="35861" y="83296"/>
                  </a:lnTo>
                  <a:lnTo>
                    <a:pt x="35861" y="29309"/>
                  </a:lnTo>
                  <a:lnTo>
                    <a:pt x="74800" y="7144"/>
                  </a:lnTo>
                  <a:lnTo>
                    <a:pt x="74800" y="83296"/>
                  </a:lnTo>
                  <a:lnTo>
                    <a:pt x="114176" y="83296"/>
                  </a:lnTo>
                  <a:lnTo>
                    <a:pt x="114176" y="112043"/>
                  </a:lnTo>
                  <a:lnTo>
                    <a:pt x="74800" y="112043"/>
                  </a:lnTo>
                  <a:lnTo>
                    <a:pt x="74800" y="239525"/>
                  </a:lnTo>
                  <a:cubicBezTo>
                    <a:pt x="74800" y="250060"/>
                    <a:pt x="75486" y="256842"/>
                    <a:pt x="76867" y="259852"/>
                  </a:cubicBezTo>
                  <a:cubicBezTo>
                    <a:pt x="78248" y="262861"/>
                    <a:pt x="80496" y="265252"/>
                    <a:pt x="83610" y="267033"/>
                  </a:cubicBezTo>
                  <a:cubicBezTo>
                    <a:pt x="86725" y="268824"/>
                    <a:pt x="91183" y="269700"/>
                    <a:pt x="96984" y="269700"/>
                  </a:cubicBezTo>
                  <a:cubicBezTo>
                    <a:pt x="101327" y="269700"/>
                    <a:pt x="107061" y="269224"/>
                    <a:pt x="114167" y="268262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8A63F5CA-6FCA-4171-97D8-977E51744830}"/>
                </a:ext>
              </a:extLst>
            </p:cNvPr>
            <p:cNvSpPr/>
            <p:nvPr/>
          </p:nvSpPr>
          <p:spPr>
            <a:xfrm>
              <a:off x="6270577" y="3175861"/>
              <a:ext cx="200025" cy="238125"/>
            </a:xfrm>
            <a:custGeom>
              <a:avLst/>
              <a:gdLst>
                <a:gd name="connsiteX0" fmla="*/ 7144 w 200025"/>
                <a:gd name="connsiteY0" fmla="*/ 165002 h 238125"/>
                <a:gd name="connsiteX1" fmla="*/ 45863 w 200025"/>
                <a:gd name="connsiteY1" fmla="*/ 159248 h 238125"/>
                <a:gd name="connsiteX2" fmla="*/ 64027 w 200025"/>
                <a:gd name="connsiteY2" fmla="*/ 192910 h 238125"/>
                <a:gd name="connsiteX3" fmla="*/ 105680 w 200025"/>
                <a:gd name="connsiteY3" fmla="*/ 204616 h 238125"/>
                <a:gd name="connsiteX4" fmla="*/ 145704 w 200025"/>
                <a:gd name="connsiteY4" fmla="*/ 194253 h 238125"/>
                <a:gd name="connsiteX5" fmla="*/ 158753 w 200025"/>
                <a:gd name="connsiteY5" fmla="*/ 169926 h 238125"/>
                <a:gd name="connsiteX6" fmla="*/ 147228 w 200025"/>
                <a:gd name="connsiteY6" fmla="*/ 150219 h 238125"/>
                <a:gd name="connsiteX7" fmla="*/ 107204 w 200025"/>
                <a:gd name="connsiteY7" fmla="*/ 137703 h 238125"/>
                <a:gd name="connsiteX8" fmla="*/ 47482 w 200025"/>
                <a:gd name="connsiteY8" fmla="*/ 119948 h 238125"/>
                <a:gd name="connsiteX9" fmla="*/ 22260 w 200025"/>
                <a:gd name="connsiteY9" fmla="*/ 99212 h 238125"/>
                <a:gd name="connsiteX10" fmla="*/ 13668 w 200025"/>
                <a:gd name="connsiteY10" fmla="*/ 69961 h 238125"/>
                <a:gd name="connsiteX11" fmla="*/ 20736 w 200025"/>
                <a:gd name="connsiteY11" fmla="*/ 42967 h 238125"/>
                <a:gd name="connsiteX12" fmla="*/ 39986 w 200025"/>
                <a:gd name="connsiteY12" fmla="*/ 22336 h 238125"/>
                <a:gd name="connsiteX13" fmla="*/ 64884 w 200025"/>
                <a:gd name="connsiteY13" fmla="*/ 11554 h 238125"/>
                <a:gd name="connsiteX14" fmla="*/ 98717 w 200025"/>
                <a:gd name="connsiteY14" fmla="*/ 7144 h 238125"/>
                <a:gd name="connsiteX15" fmla="*/ 146466 w 200025"/>
                <a:gd name="connsiteY15" fmla="*/ 14526 h 238125"/>
                <a:gd name="connsiteX16" fmla="*/ 176813 w 200025"/>
                <a:gd name="connsiteY16" fmla="*/ 34547 h 238125"/>
                <a:gd name="connsiteX17" fmla="*/ 190300 w 200025"/>
                <a:gd name="connsiteY17" fmla="*/ 68313 h 238125"/>
                <a:gd name="connsiteX18" fmla="*/ 152010 w 200025"/>
                <a:gd name="connsiteY18" fmla="*/ 73247 h 238125"/>
                <a:gd name="connsiteX19" fmla="*/ 136893 w 200025"/>
                <a:gd name="connsiteY19" fmla="*/ 46968 h 238125"/>
                <a:gd name="connsiteX20" fmla="*/ 101546 w 200025"/>
                <a:gd name="connsiteY20" fmla="*/ 37529 h 238125"/>
                <a:gd name="connsiteX21" fmla="*/ 63037 w 200025"/>
                <a:gd name="connsiteY21" fmla="*/ 45949 h 238125"/>
                <a:gd name="connsiteX22" fmla="*/ 51511 w 200025"/>
                <a:gd name="connsiteY22" fmla="*/ 65656 h 238125"/>
                <a:gd name="connsiteX23" fmla="*/ 56293 w 200025"/>
                <a:gd name="connsiteY23" fmla="*/ 78581 h 238125"/>
                <a:gd name="connsiteX24" fmla="*/ 71304 w 200025"/>
                <a:gd name="connsiteY24" fmla="*/ 88430 h 238125"/>
                <a:gd name="connsiteX25" fmla="*/ 105889 w 200025"/>
                <a:gd name="connsiteY25" fmla="*/ 97869 h 238125"/>
                <a:gd name="connsiteX26" fmla="*/ 163868 w 200025"/>
                <a:gd name="connsiteY26" fmla="*/ 115014 h 238125"/>
                <a:gd name="connsiteX27" fmla="*/ 189643 w 200025"/>
                <a:gd name="connsiteY27" fmla="*/ 134417 h 238125"/>
                <a:gd name="connsiteX28" fmla="*/ 198987 w 200025"/>
                <a:gd name="connsiteY28" fmla="*/ 166021 h 238125"/>
                <a:gd name="connsiteX29" fmla="*/ 187576 w 200025"/>
                <a:gd name="connsiteY29" fmla="*/ 200816 h 238125"/>
                <a:gd name="connsiteX30" fmla="*/ 154619 w 200025"/>
                <a:gd name="connsiteY30" fmla="*/ 226066 h 238125"/>
                <a:gd name="connsiteX31" fmla="*/ 105889 w 200025"/>
                <a:gd name="connsiteY31" fmla="*/ 235001 h 238125"/>
                <a:gd name="connsiteX32" fmla="*/ 37262 w 200025"/>
                <a:gd name="connsiteY32" fmla="*/ 217341 h 238125"/>
                <a:gd name="connsiteX33" fmla="*/ 7144 w 200025"/>
                <a:gd name="connsiteY33" fmla="*/ 165002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00025" h="238125">
                  <a:moveTo>
                    <a:pt x="7144" y="165002"/>
                  </a:moveTo>
                  <a:lnTo>
                    <a:pt x="45863" y="159248"/>
                  </a:lnTo>
                  <a:cubicBezTo>
                    <a:pt x="48044" y="173898"/>
                    <a:pt x="54093" y="185118"/>
                    <a:pt x="64027" y="192910"/>
                  </a:cubicBezTo>
                  <a:cubicBezTo>
                    <a:pt x="73952" y="200711"/>
                    <a:pt x="87840" y="204616"/>
                    <a:pt x="105680" y="204616"/>
                  </a:cubicBezTo>
                  <a:cubicBezTo>
                    <a:pt x="123663" y="204616"/>
                    <a:pt x="137008" y="201168"/>
                    <a:pt x="145704" y="194253"/>
                  </a:cubicBezTo>
                  <a:cubicBezTo>
                    <a:pt x="154400" y="187338"/>
                    <a:pt x="158753" y="179232"/>
                    <a:pt x="158753" y="169926"/>
                  </a:cubicBezTo>
                  <a:cubicBezTo>
                    <a:pt x="158753" y="161573"/>
                    <a:pt x="154915" y="155010"/>
                    <a:pt x="147228" y="150219"/>
                  </a:cubicBezTo>
                  <a:cubicBezTo>
                    <a:pt x="141865" y="146933"/>
                    <a:pt x="128521" y="142761"/>
                    <a:pt x="107204" y="137703"/>
                  </a:cubicBezTo>
                  <a:cubicBezTo>
                    <a:pt x="78486" y="130855"/>
                    <a:pt x="58588" y="124939"/>
                    <a:pt x="47482" y="119948"/>
                  </a:cubicBezTo>
                  <a:cubicBezTo>
                    <a:pt x="36395" y="114957"/>
                    <a:pt x="27975" y="108042"/>
                    <a:pt x="22260" y="99212"/>
                  </a:cubicBezTo>
                  <a:cubicBezTo>
                    <a:pt x="16526" y="90383"/>
                    <a:pt x="13668" y="80639"/>
                    <a:pt x="13668" y="69961"/>
                  </a:cubicBezTo>
                  <a:cubicBezTo>
                    <a:pt x="13668" y="60236"/>
                    <a:pt x="16021" y="51245"/>
                    <a:pt x="20736" y="42967"/>
                  </a:cubicBezTo>
                  <a:cubicBezTo>
                    <a:pt x="25441" y="34690"/>
                    <a:pt x="31861" y="27813"/>
                    <a:pt x="39986" y="22336"/>
                  </a:cubicBezTo>
                  <a:cubicBezTo>
                    <a:pt x="46072" y="18097"/>
                    <a:pt x="54378" y="14507"/>
                    <a:pt x="64884" y="11554"/>
                  </a:cubicBezTo>
                  <a:cubicBezTo>
                    <a:pt x="75400" y="8611"/>
                    <a:pt x="86668" y="7144"/>
                    <a:pt x="98717" y="7144"/>
                  </a:cubicBezTo>
                  <a:cubicBezTo>
                    <a:pt x="116834" y="7144"/>
                    <a:pt x="132760" y="9611"/>
                    <a:pt x="146466" y="14526"/>
                  </a:cubicBezTo>
                  <a:cubicBezTo>
                    <a:pt x="160163" y="19460"/>
                    <a:pt x="170288" y="26127"/>
                    <a:pt x="176813" y="34547"/>
                  </a:cubicBezTo>
                  <a:cubicBezTo>
                    <a:pt x="183347" y="42967"/>
                    <a:pt x="187833" y="54216"/>
                    <a:pt x="190300" y="68313"/>
                  </a:cubicBezTo>
                  <a:lnTo>
                    <a:pt x="152010" y="73247"/>
                  </a:lnTo>
                  <a:cubicBezTo>
                    <a:pt x="150266" y="62027"/>
                    <a:pt x="145228" y="53264"/>
                    <a:pt x="136893" y="46968"/>
                  </a:cubicBezTo>
                  <a:cubicBezTo>
                    <a:pt x="128549" y="40681"/>
                    <a:pt x="116777" y="37529"/>
                    <a:pt x="101546" y="37529"/>
                  </a:cubicBezTo>
                  <a:cubicBezTo>
                    <a:pt x="83553" y="37529"/>
                    <a:pt x="70733" y="40338"/>
                    <a:pt x="63037" y="45949"/>
                  </a:cubicBezTo>
                  <a:cubicBezTo>
                    <a:pt x="55350" y="51559"/>
                    <a:pt x="51511" y="58131"/>
                    <a:pt x="51511" y="65656"/>
                  </a:cubicBezTo>
                  <a:cubicBezTo>
                    <a:pt x="51511" y="70447"/>
                    <a:pt x="53102" y="74752"/>
                    <a:pt x="56293" y="78581"/>
                  </a:cubicBezTo>
                  <a:cubicBezTo>
                    <a:pt x="59484" y="82553"/>
                    <a:pt x="64484" y="85839"/>
                    <a:pt x="71304" y="88430"/>
                  </a:cubicBezTo>
                  <a:cubicBezTo>
                    <a:pt x="75219" y="89802"/>
                    <a:pt x="86744" y="92955"/>
                    <a:pt x="105889" y="97869"/>
                  </a:cubicBezTo>
                  <a:cubicBezTo>
                    <a:pt x="133588" y="104851"/>
                    <a:pt x="152915" y="110566"/>
                    <a:pt x="163868" y="115014"/>
                  </a:cubicBezTo>
                  <a:cubicBezTo>
                    <a:pt x="174812" y="119462"/>
                    <a:pt x="183404" y="125930"/>
                    <a:pt x="189643" y="134417"/>
                  </a:cubicBezTo>
                  <a:cubicBezTo>
                    <a:pt x="195872" y="142904"/>
                    <a:pt x="198987" y="153438"/>
                    <a:pt x="198987" y="166021"/>
                  </a:cubicBezTo>
                  <a:cubicBezTo>
                    <a:pt x="198987" y="178346"/>
                    <a:pt x="195186" y="189938"/>
                    <a:pt x="187576" y="200816"/>
                  </a:cubicBezTo>
                  <a:cubicBezTo>
                    <a:pt x="179956" y="211703"/>
                    <a:pt x="168974" y="220113"/>
                    <a:pt x="154619" y="226066"/>
                  </a:cubicBezTo>
                  <a:cubicBezTo>
                    <a:pt x="140256" y="232019"/>
                    <a:pt x="124016" y="235001"/>
                    <a:pt x="105889" y="235001"/>
                  </a:cubicBezTo>
                  <a:cubicBezTo>
                    <a:pt x="75876" y="235001"/>
                    <a:pt x="52997" y="229114"/>
                    <a:pt x="37262" y="217341"/>
                  </a:cubicBezTo>
                  <a:cubicBezTo>
                    <a:pt x="21527" y="205569"/>
                    <a:pt x="11497" y="188138"/>
                    <a:pt x="7144" y="165002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pic>
        <p:nvPicPr>
          <p:cNvPr id="54" name="Image 53">
            <a:extLst>
              <a:ext uri="{FF2B5EF4-FFF2-40B4-BE49-F238E27FC236}">
                <a16:creationId xmlns:a16="http://schemas.microsoft.com/office/drawing/2014/main" id="{FCFB04C9-7D55-4085-9FF1-1C3962FC345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206" t="11495" r="-115" b="5532"/>
          <a:stretch/>
        </p:blipFill>
        <p:spPr>
          <a:xfrm>
            <a:off x="6758124" y="0"/>
            <a:ext cx="315619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03287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  <p15:guide id="2" pos="425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 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D3AD9280-C50A-4389-916C-C99300C85A77}"/>
              </a:ext>
            </a:extLst>
          </p:cNvPr>
          <p:cNvCxnSpPr>
            <a:cxnSpLocks/>
          </p:cNvCxnSpPr>
          <p:nvPr/>
        </p:nvCxnSpPr>
        <p:spPr bwMode="auto">
          <a:xfrm>
            <a:off x="4945534" y="1800990"/>
            <a:ext cx="0" cy="443591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342221C4-A018-4C88-B0A9-86A25349D25E}"/>
              </a:ext>
            </a:extLst>
          </p:cNvPr>
          <p:cNvCxnSpPr>
            <a:cxnSpLocks/>
          </p:cNvCxnSpPr>
          <p:nvPr/>
        </p:nvCxnSpPr>
        <p:spPr bwMode="auto">
          <a:xfrm>
            <a:off x="330337" y="1781997"/>
            <a:ext cx="434648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C9BFB7F2-3F3F-4FB1-84A4-EDD49768EF51}"/>
              </a:ext>
            </a:extLst>
          </p:cNvPr>
          <p:cNvCxnSpPr/>
          <p:nvPr/>
        </p:nvCxnSpPr>
        <p:spPr bwMode="auto">
          <a:xfrm>
            <a:off x="2503581" y="4707510"/>
            <a:ext cx="0" cy="15268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Rectangle: Rounded Corners 2">
            <a:extLst>
              <a:ext uri="{FF2B5EF4-FFF2-40B4-BE49-F238E27FC236}">
                <a16:creationId xmlns:a16="http://schemas.microsoft.com/office/drawing/2014/main" id="{3D72C06E-2873-460E-A6D7-8E222F992DCC}"/>
              </a:ext>
            </a:extLst>
          </p:cNvPr>
          <p:cNvSpPr/>
          <p:nvPr/>
        </p:nvSpPr>
        <p:spPr bwMode="auto">
          <a:xfrm>
            <a:off x="330337" y="2879539"/>
            <a:ext cx="4346489" cy="254337"/>
          </a:xfrm>
          <a:prstGeom prst="roundRect">
            <a:avLst>
              <a:gd name="adj" fmla="val 1809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446088" indent="361950"/>
            <a:r>
              <a:rPr lang="en-US" b="1" cap="small">
                <a:solidFill>
                  <a:schemeClr val="tx2"/>
                </a:solidFill>
                <a:latin typeface="Trebuchet MS" pitchFamily="34" charset="0"/>
              </a:rPr>
              <a:t>Education</a:t>
            </a:r>
          </a:p>
        </p:txBody>
      </p:sp>
      <p:sp>
        <p:nvSpPr>
          <p:cNvPr id="15" name="Rectangle: Rounded Corners 2">
            <a:extLst>
              <a:ext uri="{FF2B5EF4-FFF2-40B4-BE49-F238E27FC236}">
                <a16:creationId xmlns:a16="http://schemas.microsoft.com/office/drawing/2014/main" id="{03A72C7B-7E59-47C0-8DD7-7EBD1913A768}"/>
              </a:ext>
            </a:extLst>
          </p:cNvPr>
          <p:cNvSpPr/>
          <p:nvPr/>
        </p:nvSpPr>
        <p:spPr bwMode="auto">
          <a:xfrm>
            <a:off x="330337" y="4373895"/>
            <a:ext cx="2081280" cy="254337"/>
          </a:xfrm>
          <a:prstGeom prst="roundRect">
            <a:avLst>
              <a:gd name="adj" fmla="val 1809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446088" indent="88900"/>
            <a:r>
              <a:rPr lang="en-US" b="1" cap="small">
                <a:solidFill>
                  <a:schemeClr val="tx2"/>
                </a:solidFill>
                <a:latin typeface="Trebuchet MS" pitchFamily="34" charset="0"/>
              </a:rPr>
              <a:t>     Expertise</a:t>
            </a:r>
          </a:p>
        </p:txBody>
      </p:sp>
      <p:sp>
        <p:nvSpPr>
          <p:cNvPr id="16" name="Rectangle: Rounded Corners 2">
            <a:extLst>
              <a:ext uri="{FF2B5EF4-FFF2-40B4-BE49-F238E27FC236}">
                <a16:creationId xmlns:a16="http://schemas.microsoft.com/office/drawing/2014/main" id="{4B378ADC-C43C-4DE6-B565-DED0F9201B1C}"/>
              </a:ext>
            </a:extLst>
          </p:cNvPr>
          <p:cNvSpPr/>
          <p:nvPr/>
        </p:nvSpPr>
        <p:spPr bwMode="auto">
          <a:xfrm>
            <a:off x="2595545" y="4373895"/>
            <a:ext cx="2081280" cy="254337"/>
          </a:xfrm>
          <a:prstGeom prst="roundRect">
            <a:avLst>
              <a:gd name="adj" fmla="val 1809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446088" indent="88900"/>
            <a:r>
              <a:rPr lang="en-US" b="1" cap="small">
                <a:solidFill>
                  <a:schemeClr val="tx2"/>
                </a:solidFill>
                <a:latin typeface="Trebuchet MS" pitchFamily="34" charset="0"/>
              </a:rPr>
              <a:t>     Practices</a:t>
            </a:r>
          </a:p>
        </p:txBody>
      </p:sp>
      <p:sp>
        <p:nvSpPr>
          <p:cNvPr id="17" name="Freeform 5">
            <a:extLst>
              <a:ext uri="{FF2B5EF4-FFF2-40B4-BE49-F238E27FC236}">
                <a16:creationId xmlns:a16="http://schemas.microsoft.com/office/drawing/2014/main" id="{CDDA3292-DBD2-4974-BF06-81D07E1A929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95938" y="4417814"/>
            <a:ext cx="168798" cy="160031"/>
          </a:xfrm>
          <a:custGeom>
            <a:avLst/>
            <a:gdLst>
              <a:gd name="T0" fmla="*/ 52 w 64"/>
              <a:gd name="T1" fmla="*/ 8 h 60"/>
              <a:gd name="T2" fmla="*/ 56 w 64"/>
              <a:gd name="T3" fmla="*/ 0 h 60"/>
              <a:gd name="T4" fmla="*/ 52 w 64"/>
              <a:gd name="T5" fmla="*/ 0 h 60"/>
              <a:gd name="T6" fmla="*/ 12 w 64"/>
              <a:gd name="T7" fmla="*/ 0 h 60"/>
              <a:gd name="T8" fmla="*/ 8 w 64"/>
              <a:gd name="T9" fmla="*/ 0 h 60"/>
              <a:gd name="T10" fmla="*/ 12 w 64"/>
              <a:gd name="T11" fmla="*/ 8 h 60"/>
              <a:gd name="T12" fmla="*/ 0 w 64"/>
              <a:gd name="T13" fmla="*/ 8 h 60"/>
              <a:gd name="T14" fmla="*/ 0 w 64"/>
              <a:gd name="T15" fmla="*/ 18 h 60"/>
              <a:gd name="T16" fmla="*/ 14 w 64"/>
              <a:gd name="T17" fmla="*/ 32 h 60"/>
              <a:gd name="T18" fmla="*/ 28 w 64"/>
              <a:gd name="T19" fmla="*/ 44 h 60"/>
              <a:gd name="T20" fmla="*/ 28 w 64"/>
              <a:gd name="T21" fmla="*/ 48 h 60"/>
              <a:gd name="T22" fmla="*/ 8 w 64"/>
              <a:gd name="T23" fmla="*/ 56 h 60"/>
              <a:gd name="T24" fmla="*/ 8 w 64"/>
              <a:gd name="T25" fmla="*/ 60 h 60"/>
              <a:gd name="T26" fmla="*/ 32 w 64"/>
              <a:gd name="T27" fmla="*/ 60 h 60"/>
              <a:gd name="T28" fmla="*/ 56 w 64"/>
              <a:gd name="T29" fmla="*/ 60 h 60"/>
              <a:gd name="T30" fmla="*/ 56 w 64"/>
              <a:gd name="T31" fmla="*/ 56 h 60"/>
              <a:gd name="T32" fmla="*/ 36 w 64"/>
              <a:gd name="T33" fmla="*/ 48 h 60"/>
              <a:gd name="T34" fmla="*/ 36 w 64"/>
              <a:gd name="T35" fmla="*/ 44 h 60"/>
              <a:gd name="T36" fmla="*/ 51 w 64"/>
              <a:gd name="T37" fmla="*/ 32 h 60"/>
              <a:gd name="T38" fmla="*/ 64 w 64"/>
              <a:gd name="T39" fmla="*/ 18 h 60"/>
              <a:gd name="T40" fmla="*/ 64 w 64"/>
              <a:gd name="T41" fmla="*/ 8 h 60"/>
              <a:gd name="T42" fmla="*/ 52 w 64"/>
              <a:gd name="T43" fmla="*/ 8 h 60"/>
              <a:gd name="T44" fmla="*/ 12 w 64"/>
              <a:gd name="T45" fmla="*/ 28 h 60"/>
              <a:gd name="T46" fmla="*/ 4 w 64"/>
              <a:gd name="T47" fmla="*/ 18 h 60"/>
              <a:gd name="T48" fmla="*/ 4 w 64"/>
              <a:gd name="T49" fmla="*/ 12 h 60"/>
              <a:gd name="T50" fmla="*/ 12 w 64"/>
              <a:gd name="T51" fmla="*/ 12 h 60"/>
              <a:gd name="T52" fmla="*/ 12 w 64"/>
              <a:gd name="T53" fmla="*/ 28 h 60"/>
              <a:gd name="T54" fmla="*/ 38 w 64"/>
              <a:gd name="T55" fmla="*/ 23 h 60"/>
              <a:gd name="T56" fmla="*/ 41 w 64"/>
              <a:gd name="T57" fmla="*/ 34 h 60"/>
              <a:gd name="T58" fmla="*/ 32 w 64"/>
              <a:gd name="T59" fmla="*/ 28 h 60"/>
              <a:gd name="T60" fmla="*/ 23 w 64"/>
              <a:gd name="T61" fmla="*/ 34 h 60"/>
              <a:gd name="T62" fmla="*/ 26 w 64"/>
              <a:gd name="T63" fmla="*/ 23 h 60"/>
              <a:gd name="T64" fmla="*/ 18 w 64"/>
              <a:gd name="T65" fmla="*/ 17 h 60"/>
              <a:gd name="T66" fmla="*/ 29 w 64"/>
              <a:gd name="T67" fmla="*/ 17 h 60"/>
              <a:gd name="T68" fmla="*/ 32 w 64"/>
              <a:gd name="T69" fmla="*/ 6 h 60"/>
              <a:gd name="T70" fmla="*/ 36 w 64"/>
              <a:gd name="T71" fmla="*/ 17 h 60"/>
              <a:gd name="T72" fmla="*/ 47 w 64"/>
              <a:gd name="T73" fmla="*/ 17 h 60"/>
              <a:gd name="T74" fmla="*/ 38 w 64"/>
              <a:gd name="T75" fmla="*/ 23 h 60"/>
              <a:gd name="T76" fmla="*/ 60 w 64"/>
              <a:gd name="T77" fmla="*/ 18 h 60"/>
              <a:gd name="T78" fmla="*/ 52 w 64"/>
              <a:gd name="T79" fmla="*/ 28 h 60"/>
              <a:gd name="T80" fmla="*/ 52 w 64"/>
              <a:gd name="T81" fmla="*/ 12 h 60"/>
              <a:gd name="T82" fmla="*/ 60 w 64"/>
              <a:gd name="T83" fmla="*/ 12 h 60"/>
              <a:gd name="T84" fmla="*/ 60 w 64"/>
              <a:gd name="T85" fmla="*/ 18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4" h="60">
                <a:moveTo>
                  <a:pt x="52" y="8"/>
                </a:moveTo>
                <a:cubicBezTo>
                  <a:pt x="56" y="0"/>
                  <a:pt x="56" y="0"/>
                  <a:pt x="56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8"/>
                  <a:pt x="12" y="8"/>
                  <a:pt x="12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22"/>
                  <a:pt x="0" y="30"/>
                  <a:pt x="14" y="32"/>
                </a:cubicBezTo>
                <a:cubicBezTo>
                  <a:pt x="17" y="38"/>
                  <a:pt x="22" y="42"/>
                  <a:pt x="28" y="44"/>
                </a:cubicBezTo>
                <a:cubicBezTo>
                  <a:pt x="28" y="45"/>
                  <a:pt x="28" y="47"/>
                  <a:pt x="28" y="48"/>
                </a:cubicBezTo>
                <a:cubicBezTo>
                  <a:pt x="28" y="56"/>
                  <a:pt x="12" y="56"/>
                  <a:pt x="8" y="56"/>
                </a:cubicBezTo>
                <a:cubicBezTo>
                  <a:pt x="8" y="60"/>
                  <a:pt x="8" y="60"/>
                  <a:pt x="8" y="60"/>
                </a:cubicBezTo>
                <a:cubicBezTo>
                  <a:pt x="32" y="60"/>
                  <a:pt x="32" y="60"/>
                  <a:pt x="32" y="60"/>
                </a:cubicBezTo>
                <a:cubicBezTo>
                  <a:pt x="56" y="60"/>
                  <a:pt x="56" y="60"/>
                  <a:pt x="56" y="60"/>
                </a:cubicBezTo>
                <a:cubicBezTo>
                  <a:pt x="56" y="60"/>
                  <a:pt x="56" y="60"/>
                  <a:pt x="56" y="56"/>
                </a:cubicBezTo>
                <a:cubicBezTo>
                  <a:pt x="52" y="56"/>
                  <a:pt x="36" y="56"/>
                  <a:pt x="36" y="48"/>
                </a:cubicBezTo>
                <a:cubicBezTo>
                  <a:pt x="36" y="47"/>
                  <a:pt x="36" y="45"/>
                  <a:pt x="36" y="44"/>
                </a:cubicBezTo>
                <a:cubicBezTo>
                  <a:pt x="43" y="42"/>
                  <a:pt x="48" y="38"/>
                  <a:pt x="51" y="32"/>
                </a:cubicBezTo>
                <a:cubicBezTo>
                  <a:pt x="64" y="30"/>
                  <a:pt x="64" y="22"/>
                  <a:pt x="64" y="18"/>
                </a:cubicBezTo>
                <a:cubicBezTo>
                  <a:pt x="64" y="8"/>
                  <a:pt x="64" y="8"/>
                  <a:pt x="64" y="8"/>
                </a:cubicBezTo>
                <a:lnTo>
                  <a:pt x="52" y="8"/>
                </a:lnTo>
                <a:close/>
                <a:moveTo>
                  <a:pt x="12" y="28"/>
                </a:moveTo>
                <a:cubicBezTo>
                  <a:pt x="4" y="26"/>
                  <a:pt x="4" y="21"/>
                  <a:pt x="4" y="18"/>
                </a:cubicBezTo>
                <a:cubicBezTo>
                  <a:pt x="4" y="12"/>
                  <a:pt x="4" y="12"/>
                  <a:pt x="4" y="12"/>
                </a:cubicBezTo>
                <a:cubicBezTo>
                  <a:pt x="12" y="12"/>
                  <a:pt x="12" y="12"/>
                  <a:pt x="12" y="12"/>
                </a:cubicBezTo>
                <a:lnTo>
                  <a:pt x="12" y="28"/>
                </a:lnTo>
                <a:close/>
                <a:moveTo>
                  <a:pt x="38" y="23"/>
                </a:moveTo>
                <a:cubicBezTo>
                  <a:pt x="41" y="34"/>
                  <a:pt x="41" y="34"/>
                  <a:pt x="41" y="34"/>
                </a:cubicBezTo>
                <a:cubicBezTo>
                  <a:pt x="32" y="28"/>
                  <a:pt x="32" y="28"/>
                  <a:pt x="32" y="28"/>
                </a:cubicBezTo>
                <a:cubicBezTo>
                  <a:pt x="23" y="34"/>
                  <a:pt x="23" y="34"/>
                  <a:pt x="23" y="34"/>
                </a:cubicBezTo>
                <a:cubicBezTo>
                  <a:pt x="26" y="23"/>
                  <a:pt x="26" y="23"/>
                  <a:pt x="26" y="23"/>
                </a:cubicBezTo>
                <a:cubicBezTo>
                  <a:pt x="18" y="17"/>
                  <a:pt x="18" y="17"/>
                  <a:pt x="18" y="17"/>
                </a:cubicBezTo>
                <a:cubicBezTo>
                  <a:pt x="29" y="17"/>
                  <a:pt x="29" y="17"/>
                  <a:pt x="29" y="17"/>
                </a:cubicBezTo>
                <a:cubicBezTo>
                  <a:pt x="32" y="6"/>
                  <a:pt x="32" y="6"/>
                  <a:pt x="32" y="6"/>
                </a:cubicBezTo>
                <a:cubicBezTo>
                  <a:pt x="36" y="17"/>
                  <a:pt x="36" y="17"/>
                  <a:pt x="36" y="17"/>
                </a:cubicBezTo>
                <a:cubicBezTo>
                  <a:pt x="47" y="17"/>
                  <a:pt x="47" y="17"/>
                  <a:pt x="47" y="17"/>
                </a:cubicBezTo>
                <a:lnTo>
                  <a:pt x="38" y="23"/>
                </a:lnTo>
                <a:close/>
                <a:moveTo>
                  <a:pt x="60" y="18"/>
                </a:moveTo>
                <a:cubicBezTo>
                  <a:pt x="60" y="21"/>
                  <a:pt x="60" y="26"/>
                  <a:pt x="52" y="28"/>
                </a:cubicBezTo>
                <a:cubicBezTo>
                  <a:pt x="52" y="12"/>
                  <a:pt x="52" y="12"/>
                  <a:pt x="52" y="12"/>
                </a:cubicBezTo>
                <a:cubicBezTo>
                  <a:pt x="60" y="12"/>
                  <a:pt x="60" y="12"/>
                  <a:pt x="60" y="12"/>
                </a:cubicBezTo>
                <a:lnTo>
                  <a:pt x="60" y="1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18" name="Group 9">
            <a:extLst>
              <a:ext uri="{FF2B5EF4-FFF2-40B4-BE49-F238E27FC236}">
                <a16:creationId xmlns:a16="http://schemas.microsoft.com/office/drawing/2014/main" id="{750C3B9C-3566-4671-AF85-5E5A985523E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65528" y="4414484"/>
            <a:ext cx="160033" cy="160033"/>
            <a:chOff x="-1" y="0"/>
            <a:chExt cx="77" cy="77"/>
          </a:xfrm>
          <a:solidFill>
            <a:schemeClr val="tx2"/>
          </a:solidFill>
        </p:grpSpPr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C7F39E5E-E730-4E96-AE1E-2288CF225E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" y="29"/>
              <a:ext cx="77" cy="48"/>
            </a:xfrm>
            <a:custGeom>
              <a:avLst/>
              <a:gdLst>
                <a:gd name="T0" fmla="*/ 56 w 64"/>
                <a:gd name="T1" fmla="*/ 4 h 40"/>
                <a:gd name="T2" fmla="*/ 58 w 64"/>
                <a:gd name="T3" fmla="*/ 4 h 40"/>
                <a:gd name="T4" fmla="*/ 60 w 64"/>
                <a:gd name="T5" fmla="*/ 2 h 40"/>
                <a:gd name="T6" fmla="*/ 60 w 64"/>
                <a:gd name="T7" fmla="*/ 0 h 40"/>
                <a:gd name="T8" fmla="*/ 4 w 64"/>
                <a:gd name="T9" fmla="*/ 0 h 40"/>
                <a:gd name="T10" fmla="*/ 4 w 64"/>
                <a:gd name="T11" fmla="*/ 2 h 40"/>
                <a:gd name="T12" fmla="*/ 6 w 64"/>
                <a:gd name="T13" fmla="*/ 4 h 40"/>
                <a:gd name="T14" fmla="*/ 8 w 64"/>
                <a:gd name="T15" fmla="*/ 4 h 40"/>
                <a:gd name="T16" fmla="*/ 8 w 64"/>
                <a:gd name="T17" fmla="*/ 32 h 40"/>
                <a:gd name="T18" fmla="*/ 0 w 64"/>
                <a:gd name="T19" fmla="*/ 40 h 40"/>
                <a:gd name="T20" fmla="*/ 64 w 64"/>
                <a:gd name="T21" fmla="*/ 40 h 40"/>
                <a:gd name="T22" fmla="*/ 56 w 64"/>
                <a:gd name="T23" fmla="*/ 32 h 40"/>
                <a:gd name="T24" fmla="*/ 56 w 64"/>
                <a:gd name="T25" fmla="*/ 4 h 40"/>
                <a:gd name="T26" fmla="*/ 12 w 64"/>
                <a:gd name="T27" fmla="*/ 32 h 40"/>
                <a:gd name="T28" fmla="*/ 12 w 64"/>
                <a:gd name="T29" fmla="*/ 4 h 40"/>
                <a:gd name="T30" fmla="*/ 20 w 64"/>
                <a:gd name="T31" fmla="*/ 4 h 40"/>
                <a:gd name="T32" fmla="*/ 20 w 64"/>
                <a:gd name="T33" fmla="*/ 32 h 40"/>
                <a:gd name="T34" fmla="*/ 12 w 64"/>
                <a:gd name="T35" fmla="*/ 32 h 40"/>
                <a:gd name="T36" fmla="*/ 28 w 64"/>
                <a:gd name="T37" fmla="*/ 32 h 40"/>
                <a:gd name="T38" fmla="*/ 28 w 64"/>
                <a:gd name="T39" fmla="*/ 4 h 40"/>
                <a:gd name="T40" fmla="*/ 36 w 64"/>
                <a:gd name="T41" fmla="*/ 4 h 40"/>
                <a:gd name="T42" fmla="*/ 36 w 64"/>
                <a:gd name="T43" fmla="*/ 32 h 40"/>
                <a:gd name="T44" fmla="*/ 28 w 64"/>
                <a:gd name="T45" fmla="*/ 32 h 40"/>
                <a:gd name="T46" fmla="*/ 44 w 64"/>
                <a:gd name="T47" fmla="*/ 32 h 40"/>
                <a:gd name="T48" fmla="*/ 44 w 64"/>
                <a:gd name="T49" fmla="*/ 4 h 40"/>
                <a:gd name="T50" fmla="*/ 52 w 64"/>
                <a:gd name="T51" fmla="*/ 4 h 40"/>
                <a:gd name="T52" fmla="*/ 52 w 64"/>
                <a:gd name="T53" fmla="*/ 32 h 40"/>
                <a:gd name="T54" fmla="*/ 44 w 64"/>
                <a:gd name="T55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4" h="40">
                  <a:moveTo>
                    <a:pt x="56" y="4"/>
                  </a:moveTo>
                  <a:cubicBezTo>
                    <a:pt x="58" y="4"/>
                    <a:pt x="58" y="4"/>
                    <a:pt x="58" y="4"/>
                  </a:cubicBezTo>
                  <a:cubicBezTo>
                    <a:pt x="60" y="4"/>
                    <a:pt x="60" y="3"/>
                    <a:pt x="60" y="2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5" y="4"/>
                    <a:pt x="6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56" y="32"/>
                    <a:pt x="56" y="32"/>
                    <a:pt x="56" y="32"/>
                  </a:cubicBezTo>
                  <a:lnTo>
                    <a:pt x="56" y="4"/>
                  </a:lnTo>
                  <a:close/>
                  <a:moveTo>
                    <a:pt x="12" y="32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32"/>
                    <a:pt x="20" y="32"/>
                    <a:pt x="20" y="32"/>
                  </a:cubicBezTo>
                  <a:lnTo>
                    <a:pt x="12" y="32"/>
                  </a:lnTo>
                  <a:close/>
                  <a:moveTo>
                    <a:pt x="28" y="32"/>
                  </a:moveTo>
                  <a:cubicBezTo>
                    <a:pt x="28" y="4"/>
                    <a:pt x="28" y="4"/>
                    <a:pt x="28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2"/>
                    <a:pt x="36" y="32"/>
                    <a:pt x="36" y="32"/>
                  </a:cubicBezTo>
                  <a:lnTo>
                    <a:pt x="28" y="32"/>
                  </a:lnTo>
                  <a:close/>
                  <a:moveTo>
                    <a:pt x="44" y="32"/>
                  </a:moveTo>
                  <a:cubicBezTo>
                    <a:pt x="44" y="4"/>
                    <a:pt x="44" y="4"/>
                    <a:pt x="44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32"/>
                    <a:pt x="52" y="32"/>
                    <a:pt x="52" y="32"/>
                  </a:cubicBezTo>
                  <a:lnTo>
                    <a:pt x="44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73839C7E-332B-41DB-835A-C815C9F56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" y="0"/>
              <a:ext cx="77" cy="24"/>
            </a:xfrm>
            <a:custGeom>
              <a:avLst/>
              <a:gdLst>
                <a:gd name="T0" fmla="*/ 77 w 77"/>
                <a:gd name="T1" fmla="*/ 24 h 24"/>
                <a:gd name="T2" fmla="*/ 38 w 77"/>
                <a:gd name="T3" fmla="*/ 0 h 24"/>
                <a:gd name="T4" fmla="*/ 0 w 77"/>
                <a:gd name="T5" fmla="*/ 24 h 24"/>
                <a:gd name="T6" fmla="*/ 77 w 77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" h="24">
                  <a:moveTo>
                    <a:pt x="77" y="24"/>
                  </a:moveTo>
                  <a:lnTo>
                    <a:pt x="38" y="0"/>
                  </a:lnTo>
                  <a:lnTo>
                    <a:pt x="0" y="24"/>
                  </a:lnTo>
                  <a:lnTo>
                    <a:pt x="77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3" name="Rectangle: Rounded Corners 2">
            <a:extLst>
              <a:ext uri="{FF2B5EF4-FFF2-40B4-BE49-F238E27FC236}">
                <a16:creationId xmlns:a16="http://schemas.microsoft.com/office/drawing/2014/main" id="{C4183B58-D5CE-45E1-A845-EF7D3AF12B88}"/>
              </a:ext>
            </a:extLst>
          </p:cNvPr>
          <p:cNvSpPr/>
          <p:nvPr/>
        </p:nvSpPr>
        <p:spPr bwMode="auto">
          <a:xfrm>
            <a:off x="5214242" y="2884087"/>
            <a:ext cx="4346489" cy="254337"/>
          </a:xfrm>
          <a:prstGeom prst="roundRect">
            <a:avLst>
              <a:gd name="adj" fmla="val 1809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446088" indent="361950"/>
            <a:r>
              <a:rPr lang="en-US" b="1" cap="small">
                <a:solidFill>
                  <a:schemeClr val="tx2"/>
                </a:solidFill>
                <a:latin typeface="Trebuchet MS" pitchFamily="34" charset="0"/>
              </a:rPr>
              <a:t>Education</a:t>
            </a:r>
          </a:p>
        </p:txBody>
      </p: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C95BC99D-2D28-4463-9948-407C171BD2CA}"/>
              </a:ext>
            </a:extLst>
          </p:cNvPr>
          <p:cNvCxnSpPr>
            <a:cxnSpLocks/>
          </p:cNvCxnSpPr>
          <p:nvPr/>
        </p:nvCxnSpPr>
        <p:spPr bwMode="auto">
          <a:xfrm>
            <a:off x="5214242" y="1781997"/>
            <a:ext cx="434648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Rectangle: Rounded Corners 2">
            <a:extLst>
              <a:ext uri="{FF2B5EF4-FFF2-40B4-BE49-F238E27FC236}">
                <a16:creationId xmlns:a16="http://schemas.microsoft.com/office/drawing/2014/main" id="{A659BCE0-AECB-4A93-8931-C1E66492BC25}"/>
              </a:ext>
            </a:extLst>
          </p:cNvPr>
          <p:cNvSpPr/>
          <p:nvPr/>
        </p:nvSpPr>
        <p:spPr bwMode="auto">
          <a:xfrm>
            <a:off x="5214243" y="4373895"/>
            <a:ext cx="2081280" cy="254337"/>
          </a:xfrm>
          <a:prstGeom prst="roundRect">
            <a:avLst>
              <a:gd name="adj" fmla="val 1809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446088" indent="88900"/>
            <a:r>
              <a:rPr lang="en-US" b="1" cap="small">
                <a:solidFill>
                  <a:schemeClr val="tx2"/>
                </a:solidFill>
                <a:latin typeface="Trebuchet MS" pitchFamily="34" charset="0"/>
              </a:rPr>
              <a:t>     Expertise</a:t>
            </a:r>
          </a:p>
        </p:txBody>
      </p:sp>
      <p:sp>
        <p:nvSpPr>
          <p:cNvPr id="27" name="Rectangle: Rounded Corners 2">
            <a:extLst>
              <a:ext uri="{FF2B5EF4-FFF2-40B4-BE49-F238E27FC236}">
                <a16:creationId xmlns:a16="http://schemas.microsoft.com/office/drawing/2014/main" id="{12855A7B-6042-4B0E-9C23-9D5F2FF3FB67}"/>
              </a:ext>
            </a:extLst>
          </p:cNvPr>
          <p:cNvSpPr/>
          <p:nvPr/>
        </p:nvSpPr>
        <p:spPr bwMode="auto">
          <a:xfrm>
            <a:off x="7479451" y="4373895"/>
            <a:ext cx="2081280" cy="254337"/>
          </a:xfrm>
          <a:prstGeom prst="roundRect">
            <a:avLst>
              <a:gd name="adj" fmla="val 1809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446088" indent="88900"/>
            <a:r>
              <a:rPr lang="en-US" b="1" cap="small">
                <a:solidFill>
                  <a:schemeClr val="tx2"/>
                </a:solidFill>
                <a:latin typeface="Trebuchet MS" pitchFamily="34" charset="0"/>
              </a:rPr>
              <a:t>     Practices</a:t>
            </a:r>
          </a:p>
        </p:txBody>
      </p:sp>
      <p:sp>
        <p:nvSpPr>
          <p:cNvPr id="30" name="Freeform 5">
            <a:extLst>
              <a:ext uri="{FF2B5EF4-FFF2-40B4-BE49-F238E27FC236}">
                <a16:creationId xmlns:a16="http://schemas.microsoft.com/office/drawing/2014/main" id="{2D4B1C54-9083-4DC7-BAEF-6F7CE20BBE1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579844" y="4417814"/>
            <a:ext cx="168798" cy="160031"/>
          </a:xfrm>
          <a:custGeom>
            <a:avLst/>
            <a:gdLst>
              <a:gd name="T0" fmla="*/ 52 w 64"/>
              <a:gd name="T1" fmla="*/ 8 h 60"/>
              <a:gd name="T2" fmla="*/ 56 w 64"/>
              <a:gd name="T3" fmla="*/ 0 h 60"/>
              <a:gd name="T4" fmla="*/ 52 w 64"/>
              <a:gd name="T5" fmla="*/ 0 h 60"/>
              <a:gd name="T6" fmla="*/ 12 w 64"/>
              <a:gd name="T7" fmla="*/ 0 h 60"/>
              <a:gd name="T8" fmla="*/ 8 w 64"/>
              <a:gd name="T9" fmla="*/ 0 h 60"/>
              <a:gd name="T10" fmla="*/ 12 w 64"/>
              <a:gd name="T11" fmla="*/ 8 h 60"/>
              <a:gd name="T12" fmla="*/ 0 w 64"/>
              <a:gd name="T13" fmla="*/ 8 h 60"/>
              <a:gd name="T14" fmla="*/ 0 w 64"/>
              <a:gd name="T15" fmla="*/ 18 h 60"/>
              <a:gd name="T16" fmla="*/ 14 w 64"/>
              <a:gd name="T17" fmla="*/ 32 h 60"/>
              <a:gd name="T18" fmla="*/ 28 w 64"/>
              <a:gd name="T19" fmla="*/ 44 h 60"/>
              <a:gd name="T20" fmla="*/ 28 w 64"/>
              <a:gd name="T21" fmla="*/ 48 h 60"/>
              <a:gd name="T22" fmla="*/ 8 w 64"/>
              <a:gd name="T23" fmla="*/ 56 h 60"/>
              <a:gd name="T24" fmla="*/ 8 w 64"/>
              <a:gd name="T25" fmla="*/ 60 h 60"/>
              <a:gd name="T26" fmla="*/ 32 w 64"/>
              <a:gd name="T27" fmla="*/ 60 h 60"/>
              <a:gd name="T28" fmla="*/ 56 w 64"/>
              <a:gd name="T29" fmla="*/ 60 h 60"/>
              <a:gd name="T30" fmla="*/ 56 w 64"/>
              <a:gd name="T31" fmla="*/ 56 h 60"/>
              <a:gd name="T32" fmla="*/ 36 w 64"/>
              <a:gd name="T33" fmla="*/ 48 h 60"/>
              <a:gd name="T34" fmla="*/ 36 w 64"/>
              <a:gd name="T35" fmla="*/ 44 h 60"/>
              <a:gd name="T36" fmla="*/ 51 w 64"/>
              <a:gd name="T37" fmla="*/ 32 h 60"/>
              <a:gd name="T38" fmla="*/ 64 w 64"/>
              <a:gd name="T39" fmla="*/ 18 h 60"/>
              <a:gd name="T40" fmla="*/ 64 w 64"/>
              <a:gd name="T41" fmla="*/ 8 h 60"/>
              <a:gd name="T42" fmla="*/ 52 w 64"/>
              <a:gd name="T43" fmla="*/ 8 h 60"/>
              <a:gd name="T44" fmla="*/ 12 w 64"/>
              <a:gd name="T45" fmla="*/ 28 h 60"/>
              <a:gd name="T46" fmla="*/ 4 w 64"/>
              <a:gd name="T47" fmla="*/ 18 h 60"/>
              <a:gd name="T48" fmla="*/ 4 w 64"/>
              <a:gd name="T49" fmla="*/ 12 h 60"/>
              <a:gd name="T50" fmla="*/ 12 w 64"/>
              <a:gd name="T51" fmla="*/ 12 h 60"/>
              <a:gd name="T52" fmla="*/ 12 w 64"/>
              <a:gd name="T53" fmla="*/ 28 h 60"/>
              <a:gd name="T54" fmla="*/ 38 w 64"/>
              <a:gd name="T55" fmla="*/ 23 h 60"/>
              <a:gd name="T56" fmla="*/ 41 w 64"/>
              <a:gd name="T57" fmla="*/ 34 h 60"/>
              <a:gd name="T58" fmla="*/ 32 w 64"/>
              <a:gd name="T59" fmla="*/ 28 h 60"/>
              <a:gd name="T60" fmla="*/ 23 w 64"/>
              <a:gd name="T61" fmla="*/ 34 h 60"/>
              <a:gd name="T62" fmla="*/ 26 w 64"/>
              <a:gd name="T63" fmla="*/ 23 h 60"/>
              <a:gd name="T64" fmla="*/ 18 w 64"/>
              <a:gd name="T65" fmla="*/ 17 h 60"/>
              <a:gd name="T66" fmla="*/ 29 w 64"/>
              <a:gd name="T67" fmla="*/ 17 h 60"/>
              <a:gd name="T68" fmla="*/ 32 w 64"/>
              <a:gd name="T69" fmla="*/ 6 h 60"/>
              <a:gd name="T70" fmla="*/ 36 w 64"/>
              <a:gd name="T71" fmla="*/ 17 h 60"/>
              <a:gd name="T72" fmla="*/ 47 w 64"/>
              <a:gd name="T73" fmla="*/ 17 h 60"/>
              <a:gd name="T74" fmla="*/ 38 w 64"/>
              <a:gd name="T75" fmla="*/ 23 h 60"/>
              <a:gd name="T76" fmla="*/ 60 w 64"/>
              <a:gd name="T77" fmla="*/ 18 h 60"/>
              <a:gd name="T78" fmla="*/ 52 w 64"/>
              <a:gd name="T79" fmla="*/ 28 h 60"/>
              <a:gd name="T80" fmla="*/ 52 w 64"/>
              <a:gd name="T81" fmla="*/ 12 h 60"/>
              <a:gd name="T82" fmla="*/ 60 w 64"/>
              <a:gd name="T83" fmla="*/ 12 h 60"/>
              <a:gd name="T84" fmla="*/ 60 w 64"/>
              <a:gd name="T85" fmla="*/ 18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4" h="60">
                <a:moveTo>
                  <a:pt x="52" y="8"/>
                </a:moveTo>
                <a:cubicBezTo>
                  <a:pt x="56" y="0"/>
                  <a:pt x="56" y="0"/>
                  <a:pt x="56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8"/>
                  <a:pt x="12" y="8"/>
                  <a:pt x="12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22"/>
                  <a:pt x="0" y="30"/>
                  <a:pt x="14" y="32"/>
                </a:cubicBezTo>
                <a:cubicBezTo>
                  <a:pt x="17" y="38"/>
                  <a:pt x="22" y="42"/>
                  <a:pt x="28" y="44"/>
                </a:cubicBezTo>
                <a:cubicBezTo>
                  <a:pt x="28" y="45"/>
                  <a:pt x="28" y="47"/>
                  <a:pt x="28" y="48"/>
                </a:cubicBezTo>
                <a:cubicBezTo>
                  <a:pt x="28" y="56"/>
                  <a:pt x="12" y="56"/>
                  <a:pt x="8" y="56"/>
                </a:cubicBezTo>
                <a:cubicBezTo>
                  <a:pt x="8" y="60"/>
                  <a:pt x="8" y="60"/>
                  <a:pt x="8" y="60"/>
                </a:cubicBezTo>
                <a:cubicBezTo>
                  <a:pt x="32" y="60"/>
                  <a:pt x="32" y="60"/>
                  <a:pt x="32" y="60"/>
                </a:cubicBezTo>
                <a:cubicBezTo>
                  <a:pt x="56" y="60"/>
                  <a:pt x="56" y="60"/>
                  <a:pt x="56" y="60"/>
                </a:cubicBezTo>
                <a:cubicBezTo>
                  <a:pt x="56" y="60"/>
                  <a:pt x="56" y="60"/>
                  <a:pt x="56" y="56"/>
                </a:cubicBezTo>
                <a:cubicBezTo>
                  <a:pt x="52" y="56"/>
                  <a:pt x="36" y="56"/>
                  <a:pt x="36" y="48"/>
                </a:cubicBezTo>
                <a:cubicBezTo>
                  <a:pt x="36" y="47"/>
                  <a:pt x="36" y="45"/>
                  <a:pt x="36" y="44"/>
                </a:cubicBezTo>
                <a:cubicBezTo>
                  <a:pt x="43" y="42"/>
                  <a:pt x="48" y="38"/>
                  <a:pt x="51" y="32"/>
                </a:cubicBezTo>
                <a:cubicBezTo>
                  <a:pt x="64" y="30"/>
                  <a:pt x="64" y="22"/>
                  <a:pt x="64" y="18"/>
                </a:cubicBezTo>
                <a:cubicBezTo>
                  <a:pt x="64" y="8"/>
                  <a:pt x="64" y="8"/>
                  <a:pt x="64" y="8"/>
                </a:cubicBezTo>
                <a:lnTo>
                  <a:pt x="52" y="8"/>
                </a:lnTo>
                <a:close/>
                <a:moveTo>
                  <a:pt x="12" y="28"/>
                </a:moveTo>
                <a:cubicBezTo>
                  <a:pt x="4" y="26"/>
                  <a:pt x="4" y="21"/>
                  <a:pt x="4" y="18"/>
                </a:cubicBezTo>
                <a:cubicBezTo>
                  <a:pt x="4" y="12"/>
                  <a:pt x="4" y="12"/>
                  <a:pt x="4" y="12"/>
                </a:cubicBezTo>
                <a:cubicBezTo>
                  <a:pt x="12" y="12"/>
                  <a:pt x="12" y="12"/>
                  <a:pt x="12" y="12"/>
                </a:cubicBezTo>
                <a:lnTo>
                  <a:pt x="12" y="28"/>
                </a:lnTo>
                <a:close/>
                <a:moveTo>
                  <a:pt x="38" y="23"/>
                </a:moveTo>
                <a:cubicBezTo>
                  <a:pt x="41" y="34"/>
                  <a:pt x="41" y="34"/>
                  <a:pt x="41" y="34"/>
                </a:cubicBezTo>
                <a:cubicBezTo>
                  <a:pt x="32" y="28"/>
                  <a:pt x="32" y="28"/>
                  <a:pt x="32" y="28"/>
                </a:cubicBezTo>
                <a:cubicBezTo>
                  <a:pt x="23" y="34"/>
                  <a:pt x="23" y="34"/>
                  <a:pt x="23" y="34"/>
                </a:cubicBezTo>
                <a:cubicBezTo>
                  <a:pt x="26" y="23"/>
                  <a:pt x="26" y="23"/>
                  <a:pt x="26" y="23"/>
                </a:cubicBezTo>
                <a:cubicBezTo>
                  <a:pt x="18" y="17"/>
                  <a:pt x="18" y="17"/>
                  <a:pt x="18" y="17"/>
                </a:cubicBezTo>
                <a:cubicBezTo>
                  <a:pt x="29" y="17"/>
                  <a:pt x="29" y="17"/>
                  <a:pt x="29" y="17"/>
                </a:cubicBezTo>
                <a:cubicBezTo>
                  <a:pt x="32" y="6"/>
                  <a:pt x="32" y="6"/>
                  <a:pt x="32" y="6"/>
                </a:cubicBezTo>
                <a:cubicBezTo>
                  <a:pt x="36" y="17"/>
                  <a:pt x="36" y="17"/>
                  <a:pt x="36" y="17"/>
                </a:cubicBezTo>
                <a:cubicBezTo>
                  <a:pt x="47" y="17"/>
                  <a:pt x="47" y="17"/>
                  <a:pt x="47" y="17"/>
                </a:cubicBezTo>
                <a:lnTo>
                  <a:pt x="38" y="23"/>
                </a:lnTo>
                <a:close/>
                <a:moveTo>
                  <a:pt x="60" y="18"/>
                </a:moveTo>
                <a:cubicBezTo>
                  <a:pt x="60" y="21"/>
                  <a:pt x="60" y="26"/>
                  <a:pt x="52" y="28"/>
                </a:cubicBezTo>
                <a:cubicBezTo>
                  <a:pt x="52" y="12"/>
                  <a:pt x="52" y="12"/>
                  <a:pt x="52" y="12"/>
                </a:cubicBezTo>
                <a:cubicBezTo>
                  <a:pt x="60" y="12"/>
                  <a:pt x="60" y="12"/>
                  <a:pt x="60" y="12"/>
                </a:cubicBezTo>
                <a:lnTo>
                  <a:pt x="60" y="1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31" name="Group 9">
            <a:extLst>
              <a:ext uri="{FF2B5EF4-FFF2-40B4-BE49-F238E27FC236}">
                <a16:creationId xmlns:a16="http://schemas.microsoft.com/office/drawing/2014/main" id="{B556EE8A-7D27-44BC-92BF-492AB1DD4E1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9434" y="4414484"/>
            <a:ext cx="160033" cy="160033"/>
            <a:chOff x="-1" y="0"/>
            <a:chExt cx="77" cy="77"/>
          </a:xfrm>
          <a:solidFill>
            <a:schemeClr val="tx2"/>
          </a:solidFill>
        </p:grpSpPr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3AFE975E-536B-4ACF-BAC5-EC7B04053C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" y="29"/>
              <a:ext cx="77" cy="48"/>
            </a:xfrm>
            <a:custGeom>
              <a:avLst/>
              <a:gdLst>
                <a:gd name="T0" fmla="*/ 56 w 64"/>
                <a:gd name="T1" fmla="*/ 4 h 40"/>
                <a:gd name="T2" fmla="*/ 58 w 64"/>
                <a:gd name="T3" fmla="*/ 4 h 40"/>
                <a:gd name="T4" fmla="*/ 60 w 64"/>
                <a:gd name="T5" fmla="*/ 2 h 40"/>
                <a:gd name="T6" fmla="*/ 60 w 64"/>
                <a:gd name="T7" fmla="*/ 0 h 40"/>
                <a:gd name="T8" fmla="*/ 4 w 64"/>
                <a:gd name="T9" fmla="*/ 0 h 40"/>
                <a:gd name="T10" fmla="*/ 4 w 64"/>
                <a:gd name="T11" fmla="*/ 2 h 40"/>
                <a:gd name="T12" fmla="*/ 6 w 64"/>
                <a:gd name="T13" fmla="*/ 4 h 40"/>
                <a:gd name="T14" fmla="*/ 8 w 64"/>
                <a:gd name="T15" fmla="*/ 4 h 40"/>
                <a:gd name="T16" fmla="*/ 8 w 64"/>
                <a:gd name="T17" fmla="*/ 32 h 40"/>
                <a:gd name="T18" fmla="*/ 0 w 64"/>
                <a:gd name="T19" fmla="*/ 40 h 40"/>
                <a:gd name="T20" fmla="*/ 64 w 64"/>
                <a:gd name="T21" fmla="*/ 40 h 40"/>
                <a:gd name="T22" fmla="*/ 56 w 64"/>
                <a:gd name="T23" fmla="*/ 32 h 40"/>
                <a:gd name="T24" fmla="*/ 56 w 64"/>
                <a:gd name="T25" fmla="*/ 4 h 40"/>
                <a:gd name="T26" fmla="*/ 12 w 64"/>
                <a:gd name="T27" fmla="*/ 32 h 40"/>
                <a:gd name="T28" fmla="*/ 12 w 64"/>
                <a:gd name="T29" fmla="*/ 4 h 40"/>
                <a:gd name="T30" fmla="*/ 20 w 64"/>
                <a:gd name="T31" fmla="*/ 4 h 40"/>
                <a:gd name="T32" fmla="*/ 20 w 64"/>
                <a:gd name="T33" fmla="*/ 32 h 40"/>
                <a:gd name="T34" fmla="*/ 12 w 64"/>
                <a:gd name="T35" fmla="*/ 32 h 40"/>
                <a:gd name="T36" fmla="*/ 28 w 64"/>
                <a:gd name="T37" fmla="*/ 32 h 40"/>
                <a:gd name="T38" fmla="*/ 28 w 64"/>
                <a:gd name="T39" fmla="*/ 4 h 40"/>
                <a:gd name="T40" fmla="*/ 36 w 64"/>
                <a:gd name="T41" fmla="*/ 4 h 40"/>
                <a:gd name="T42" fmla="*/ 36 w 64"/>
                <a:gd name="T43" fmla="*/ 32 h 40"/>
                <a:gd name="T44" fmla="*/ 28 w 64"/>
                <a:gd name="T45" fmla="*/ 32 h 40"/>
                <a:gd name="T46" fmla="*/ 44 w 64"/>
                <a:gd name="T47" fmla="*/ 32 h 40"/>
                <a:gd name="T48" fmla="*/ 44 w 64"/>
                <a:gd name="T49" fmla="*/ 4 h 40"/>
                <a:gd name="T50" fmla="*/ 52 w 64"/>
                <a:gd name="T51" fmla="*/ 4 h 40"/>
                <a:gd name="T52" fmla="*/ 52 w 64"/>
                <a:gd name="T53" fmla="*/ 32 h 40"/>
                <a:gd name="T54" fmla="*/ 44 w 64"/>
                <a:gd name="T55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4" h="40">
                  <a:moveTo>
                    <a:pt x="56" y="4"/>
                  </a:moveTo>
                  <a:cubicBezTo>
                    <a:pt x="58" y="4"/>
                    <a:pt x="58" y="4"/>
                    <a:pt x="58" y="4"/>
                  </a:cubicBezTo>
                  <a:cubicBezTo>
                    <a:pt x="60" y="4"/>
                    <a:pt x="60" y="3"/>
                    <a:pt x="60" y="2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5" y="4"/>
                    <a:pt x="6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56" y="32"/>
                    <a:pt x="56" y="32"/>
                    <a:pt x="56" y="32"/>
                  </a:cubicBezTo>
                  <a:lnTo>
                    <a:pt x="56" y="4"/>
                  </a:lnTo>
                  <a:close/>
                  <a:moveTo>
                    <a:pt x="12" y="32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32"/>
                    <a:pt x="20" y="32"/>
                    <a:pt x="20" y="32"/>
                  </a:cubicBezTo>
                  <a:lnTo>
                    <a:pt x="12" y="32"/>
                  </a:lnTo>
                  <a:close/>
                  <a:moveTo>
                    <a:pt x="28" y="32"/>
                  </a:moveTo>
                  <a:cubicBezTo>
                    <a:pt x="28" y="4"/>
                    <a:pt x="28" y="4"/>
                    <a:pt x="28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2"/>
                    <a:pt x="36" y="32"/>
                    <a:pt x="36" y="32"/>
                  </a:cubicBezTo>
                  <a:lnTo>
                    <a:pt x="28" y="32"/>
                  </a:lnTo>
                  <a:close/>
                  <a:moveTo>
                    <a:pt x="44" y="32"/>
                  </a:moveTo>
                  <a:cubicBezTo>
                    <a:pt x="44" y="4"/>
                    <a:pt x="44" y="4"/>
                    <a:pt x="44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32"/>
                    <a:pt x="52" y="32"/>
                    <a:pt x="52" y="32"/>
                  </a:cubicBezTo>
                  <a:lnTo>
                    <a:pt x="44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331C8FD1-B375-47B7-9935-57A38B974C3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" y="0"/>
              <a:ext cx="77" cy="24"/>
            </a:xfrm>
            <a:custGeom>
              <a:avLst/>
              <a:gdLst>
                <a:gd name="T0" fmla="*/ 77 w 77"/>
                <a:gd name="T1" fmla="*/ 24 h 24"/>
                <a:gd name="T2" fmla="*/ 38 w 77"/>
                <a:gd name="T3" fmla="*/ 0 h 24"/>
                <a:gd name="T4" fmla="*/ 0 w 77"/>
                <a:gd name="T5" fmla="*/ 24 h 24"/>
                <a:gd name="T6" fmla="*/ 77 w 77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" h="24">
                  <a:moveTo>
                    <a:pt x="77" y="24"/>
                  </a:moveTo>
                  <a:lnTo>
                    <a:pt x="38" y="0"/>
                  </a:lnTo>
                  <a:lnTo>
                    <a:pt x="0" y="24"/>
                  </a:lnTo>
                  <a:lnTo>
                    <a:pt x="77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F809FE76-16E7-4FCD-B055-07DDD19A9F64}"/>
              </a:ext>
            </a:extLst>
          </p:cNvPr>
          <p:cNvCxnSpPr/>
          <p:nvPr/>
        </p:nvCxnSpPr>
        <p:spPr bwMode="auto">
          <a:xfrm>
            <a:off x="7387487" y="4707510"/>
            <a:ext cx="0" cy="15268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47440992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mplate 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12"/>
          <p:cNvSpPr txBox="1"/>
          <p:nvPr/>
        </p:nvSpPr>
        <p:spPr>
          <a:xfrm>
            <a:off x="695277" y="3022168"/>
            <a:ext cx="865083" cy="18000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rPr>
              <a:t>Expertises</a:t>
            </a:r>
            <a:endParaRPr kumimoji="0" lang="fr-FR" sz="10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</a:endParaRPr>
          </a:p>
        </p:txBody>
      </p:sp>
      <p:sp>
        <p:nvSpPr>
          <p:cNvPr id="9" name="ZoneTexte 12"/>
          <p:cNvSpPr txBox="1"/>
          <p:nvPr/>
        </p:nvSpPr>
        <p:spPr>
          <a:xfrm>
            <a:off x="695277" y="4260283"/>
            <a:ext cx="1861126" cy="18000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rPr>
              <a:t>Compétences sectorielles</a:t>
            </a:r>
            <a:endParaRPr kumimoji="0" lang="fr-FR" sz="10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</a:endParaRPr>
          </a:p>
        </p:txBody>
      </p:sp>
      <p:sp>
        <p:nvSpPr>
          <p:cNvPr id="10" name="ZoneTexte 12"/>
          <p:cNvSpPr txBox="1"/>
          <p:nvPr/>
        </p:nvSpPr>
        <p:spPr>
          <a:xfrm>
            <a:off x="695277" y="5316504"/>
            <a:ext cx="773279" cy="18000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rPr>
              <a:t>Parcours</a:t>
            </a:r>
            <a:endParaRPr kumimoji="0" lang="fr-FR" sz="10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</a:endParaRPr>
          </a:p>
        </p:txBody>
      </p:sp>
      <p:sp>
        <p:nvSpPr>
          <p:cNvPr id="11" name="ZoneTexte 12"/>
          <p:cNvSpPr txBox="1"/>
          <p:nvPr/>
        </p:nvSpPr>
        <p:spPr>
          <a:xfrm>
            <a:off x="695277" y="2259698"/>
            <a:ext cx="864000" cy="18000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rPr>
              <a:t>Formation</a:t>
            </a:r>
            <a:endParaRPr kumimoji="0" lang="fr-FR" sz="10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</a:endParaRPr>
          </a:p>
        </p:txBody>
      </p:sp>
      <p:sp>
        <p:nvSpPr>
          <p:cNvPr id="12" name="ZoneTexte 12"/>
          <p:cNvSpPr txBox="1"/>
          <p:nvPr/>
        </p:nvSpPr>
        <p:spPr>
          <a:xfrm>
            <a:off x="4239991" y="2259698"/>
            <a:ext cx="1714427" cy="18000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rPr>
              <a:t>Principales références</a:t>
            </a:r>
            <a:endParaRPr kumimoji="0" lang="fr-FR" sz="10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</a:endParaRPr>
          </a:p>
        </p:txBody>
      </p:sp>
      <p:cxnSp>
        <p:nvCxnSpPr>
          <p:cNvPr id="13" name="Connecteur droit 12"/>
          <p:cNvCxnSpPr>
            <a:cxnSpLocks/>
          </p:cNvCxnSpPr>
          <p:nvPr/>
        </p:nvCxnSpPr>
        <p:spPr>
          <a:xfrm>
            <a:off x="4508740" y="770626"/>
            <a:ext cx="4634423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/>
          <p:cNvCxnSpPr/>
          <p:nvPr/>
        </p:nvCxnSpPr>
        <p:spPr>
          <a:xfrm>
            <a:off x="5964677" y="2349698"/>
            <a:ext cx="3178486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/>
          <p:cNvCxnSpPr>
            <a:cxnSpLocks/>
          </p:cNvCxnSpPr>
          <p:nvPr/>
        </p:nvCxnSpPr>
        <p:spPr>
          <a:xfrm>
            <a:off x="1575702" y="2349698"/>
            <a:ext cx="2297799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/>
          <p:cNvCxnSpPr>
            <a:cxnSpLocks/>
          </p:cNvCxnSpPr>
          <p:nvPr/>
        </p:nvCxnSpPr>
        <p:spPr>
          <a:xfrm>
            <a:off x="1575702" y="3112168"/>
            <a:ext cx="2297798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/>
          <p:cNvCxnSpPr>
            <a:cxnSpLocks/>
          </p:cNvCxnSpPr>
          <p:nvPr/>
        </p:nvCxnSpPr>
        <p:spPr>
          <a:xfrm>
            <a:off x="2632051" y="4350283"/>
            <a:ext cx="1241449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17"/>
          <p:cNvCxnSpPr>
            <a:cxnSpLocks/>
          </p:cNvCxnSpPr>
          <p:nvPr/>
        </p:nvCxnSpPr>
        <p:spPr>
          <a:xfrm>
            <a:off x="1429644" y="5406504"/>
            <a:ext cx="2443856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Espace réservé pour une image  22"/>
          <p:cNvSpPr>
            <a:spLocks noGrp="1"/>
          </p:cNvSpPr>
          <p:nvPr>
            <p:ph type="pic" sz="quarter" idx="10"/>
          </p:nvPr>
        </p:nvSpPr>
        <p:spPr>
          <a:xfrm>
            <a:off x="695277" y="585014"/>
            <a:ext cx="1414800" cy="1413684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1" hasCustomPrompt="1"/>
          </p:nvPr>
        </p:nvSpPr>
        <p:spPr>
          <a:xfrm>
            <a:off x="2447925" y="585016"/>
            <a:ext cx="1963208" cy="23211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kumimoji="0" lang="fr-FR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j-ea"/>
                <a:cs typeface="Trebuchet MS"/>
              </a:defRPr>
            </a:lvl1pPr>
            <a:lvl2pPr marL="0" indent="0">
              <a:buNone/>
              <a:defRPr lang="fr-FR" sz="1200" kern="1200" dirty="0" smtClean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</a:defRPr>
            </a:lvl2pPr>
            <a:lvl3pPr marL="847725" indent="0">
              <a:buNone/>
              <a:defRPr/>
            </a:lvl3pPr>
            <a:lvl4pPr marL="1368425" indent="0">
              <a:buNone/>
              <a:defRPr/>
            </a:lvl4pPr>
            <a:lvl5pPr marL="1981200" indent="0">
              <a:buNone/>
              <a:defRPr/>
            </a:lvl5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Prénom</a:t>
            </a:r>
          </a:p>
        </p:txBody>
      </p:sp>
      <p:sp>
        <p:nvSpPr>
          <p:cNvPr id="27" name="Espace réservé du texte 24"/>
          <p:cNvSpPr>
            <a:spLocks noGrp="1"/>
          </p:cNvSpPr>
          <p:nvPr>
            <p:ph type="body" sz="quarter" idx="12" hasCustomPrompt="1"/>
          </p:nvPr>
        </p:nvSpPr>
        <p:spPr>
          <a:xfrm>
            <a:off x="2447926" y="827952"/>
            <a:ext cx="6695237" cy="223279"/>
          </a:xfrm>
        </p:spPr>
        <p:txBody>
          <a:bodyPr>
            <a:noAutofit/>
          </a:bodyPr>
          <a:lstStyle>
            <a:lvl1pPr marL="0" indent="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fr-FR" sz="1200" b="1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  <a:lvl2pPr marL="0" indent="0">
              <a:buNone/>
              <a:defRPr lang="fr-FR" sz="1200" kern="1200" dirty="0" smtClean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</a:defRPr>
            </a:lvl2pPr>
            <a:lvl3pPr marL="847725" indent="0">
              <a:buNone/>
              <a:defRPr/>
            </a:lvl3pPr>
            <a:lvl4pPr marL="1368425" indent="0">
              <a:buNone/>
              <a:defRPr/>
            </a:lvl4pPr>
            <a:lvl5pPr marL="1981200" indent="0">
              <a:buNone/>
              <a:defRPr/>
            </a:lvl5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noProof="0"/>
              <a:t>Position</a:t>
            </a:r>
          </a:p>
        </p:txBody>
      </p:sp>
      <p:sp>
        <p:nvSpPr>
          <p:cNvPr id="28" name="Espace réservé du texte 24"/>
          <p:cNvSpPr>
            <a:spLocks noGrp="1"/>
          </p:cNvSpPr>
          <p:nvPr>
            <p:ph type="body" sz="quarter" idx="13" hasCustomPrompt="1"/>
          </p:nvPr>
        </p:nvSpPr>
        <p:spPr>
          <a:xfrm>
            <a:off x="2447925" y="1172877"/>
            <a:ext cx="6695238" cy="825821"/>
          </a:xfrm>
        </p:spPr>
        <p:txBody>
          <a:bodyPr>
            <a:noAutofit/>
          </a:bodyPr>
          <a:lstStyle>
            <a:lvl1pPr marL="0" indent="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fr-FR" sz="10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  <a:lvl2pPr marL="0" indent="0">
              <a:buNone/>
              <a:defRPr lang="fr-FR" sz="1200" kern="1200" dirty="0" smtClean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</a:defRPr>
            </a:lvl2pPr>
            <a:lvl3pPr marL="847725" indent="0">
              <a:buNone/>
              <a:defRPr/>
            </a:lvl3pPr>
            <a:lvl4pPr marL="1368425" indent="0">
              <a:buNone/>
              <a:defRPr/>
            </a:lvl4pPr>
            <a:lvl5pPr marL="1981200" indent="0">
              <a:buNone/>
              <a:defRPr/>
            </a:lvl5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noProof="0"/>
              <a:t>Description rapide du parcours </a:t>
            </a:r>
          </a:p>
        </p:txBody>
      </p:sp>
      <p:sp>
        <p:nvSpPr>
          <p:cNvPr id="32" name="Espace réservé du texte 31"/>
          <p:cNvSpPr>
            <a:spLocks noGrp="1"/>
          </p:cNvSpPr>
          <p:nvPr>
            <p:ph type="body" sz="quarter" idx="14"/>
          </p:nvPr>
        </p:nvSpPr>
        <p:spPr>
          <a:xfrm>
            <a:off x="614363" y="2397124"/>
            <a:ext cx="3259137" cy="563205"/>
          </a:xfrm>
        </p:spPr>
        <p:txBody>
          <a:bodyPr>
            <a:noAutofit/>
          </a:bodyPr>
          <a:lstStyle>
            <a:lvl1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1pPr>
            <a:lvl2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2pPr>
            <a:lvl3pPr marL="376238" indent="-285750">
              <a:defRPr/>
            </a:lvl3pPr>
            <a:lvl4pPr marL="376238" indent="-285750">
              <a:defRPr/>
            </a:lvl4pPr>
            <a:lvl5pPr marL="376238" indent="-285750">
              <a:defRPr/>
            </a:lvl5pPr>
          </a:lstStyle>
          <a:p>
            <a:pPr marL="261938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Click to edit Master text styles</a:t>
            </a:r>
          </a:p>
          <a:p>
            <a:pPr marL="261938" marR="0" lvl="1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Second level</a:t>
            </a:r>
          </a:p>
        </p:txBody>
      </p:sp>
      <p:sp>
        <p:nvSpPr>
          <p:cNvPr id="26" name="Espace réservé du texte 31">
            <a:extLst>
              <a:ext uri="{FF2B5EF4-FFF2-40B4-BE49-F238E27FC236}">
                <a16:creationId xmlns:a16="http://schemas.microsoft.com/office/drawing/2014/main" id="{39AB12F0-E75E-4B66-B105-CBFE112150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4363" y="3168713"/>
            <a:ext cx="3259138" cy="1028279"/>
          </a:xfrm>
        </p:spPr>
        <p:txBody>
          <a:bodyPr>
            <a:noAutofit/>
          </a:bodyPr>
          <a:lstStyle>
            <a:lvl1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1pPr>
            <a:lvl2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2pPr>
            <a:lvl3pPr marL="376238" indent="-285750">
              <a:defRPr/>
            </a:lvl3pPr>
            <a:lvl4pPr marL="376238" indent="-285750">
              <a:defRPr/>
            </a:lvl4pPr>
            <a:lvl5pPr marL="376238" indent="-285750">
              <a:defRPr/>
            </a:lvl5pPr>
          </a:lstStyle>
          <a:p>
            <a:pPr marL="261938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Click to edit Master text styles</a:t>
            </a:r>
          </a:p>
          <a:p>
            <a:pPr marL="261938" marR="0" lvl="1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Second level</a:t>
            </a:r>
          </a:p>
        </p:txBody>
      </p:sp>
      <p:sp>
        <p:nvSpPr>
          <p:cNvPr id="30" name="Espace réservé du texte 31">
            <a:extLst>
              <a:ext uri="{FF2B5EF4-FFF2-40B4-BE49-F238E27FC236}">
                <a16:creationId xmlns:a16="http://schemas.microsoft.com/office/drawing/2014/main" id="{33F08225-28E1-4550-A21A-37E74618102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4363" y="4419943"/>
            <a:ext cx="3259138" cy="833269"/>
          </a:xfrm>
        </p:spPr>
        <p:txBody>
          <a:bodyPr>
            <a:noAutofit/>
          </a:bodyPr>
          <a:lstStyle>
            <a:lvl1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1pPr>
            <a:lvl2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2pPr>
            <a:lvl3pPr marL="376238" indent="-285750">
              <a:defRPr/>
            </a:lvl3pPr>
            <a:lvl4pPr marL="376238" indent="-285750">
              <a:defRPr/>
            </a:lvl4pPr>
            <a:lvl5pPr marL="376238" indent="-285750">
              <a:defRPr/>
            </a:lvl5pPr>
          </a:lstStyle>
          <a:p>
            <a:pPr marL="261938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Click to edit Master text styles</a:t>
            </a:r>
          </a:p>
          <a:p>
            <a:pPr marL="261938" marR="0" lvl="1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Second level</a:t>
            </a:r>
          </a:p>
        </p:txBody>
      </p:sp>
      <p:sp>
        <p:nvSpPr>
          <p:cNvPr id="33" name="Espace réservé du texte 31">
            <a:extLst>
              <a:ext uri="{FF2B5EF4-FFF2-40B4-BE49-F238E27FC236}">
                <a16:creationId xmlns:a16="http://schemas.microsoft.com/office/drawing/2014/main" id="{FEC446AB-7C31-415B-8C1A-177A5182EF0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4363" y="5476163"/>
            <a:ext cx="3259138" cy="721413"/>
          </a:xfrm>
        </p:spPr>
        <p:txBody>
          <a:bodyPr>
            <a:noAutofit/>
          </a:bodyPr>
          <a:lstStyle>
            <a:lvl1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1pPr>
            <a:lvl2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2pPr>
            <a:lvl3pPr marL="376238" indent="-285750">
              <a:defRPr/>
            </a:lvl3pPr>
            <a:lvl4pPr marL="376238" indent="-285750">
              <a:defRPr/>
            </a:lvl4pPr>
            <a:lvl5pPr marL="376238" indent="-285750">
              <a:defRPr/>
            </a:lvl5pPr>
          </a:lstStyle>
          <a:p>
            <a:pPr marL="261938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Click to edit Master text styles</a:t>
            </a:r>
          </a:p>
          <a:p>
            <a:pPr marL="261938" marR="0" lvl="1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Second level</a:t>
            </a:r>
          </a:p>
        </p:txBody>
      </p:sp>
      <p:sp>
        <p:nvSpPr>
          <p:cNvPr id="24" name="Espace réservé du texte 5">
            <a:extLst>
              <a:ext uri="{FF2B5EF4-FFF2-40B4-BE49-F238E27FC236}">
                <a16:creationId xmlns:a16="http://schemas.microsoft.com/office/drawing/2014/main" id="{7A6AF1FA-987D-436B-A715-21322E8792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40963" y="2397125"/>
            <a:ext cx="4902200" cy="3802063"/>
          </a:xfrm>
        </p:spPr>
        <p:txBody>
          <a:bodyPr/>
          <a:lstStyle>
            <a:lvl1pPr marL="182563" indent="-182563">
              <a:spcBef>
                <a:spcPts val="0"/>
              </a:spcBef>
              <a:defRPr sz="1000">
                <a:latin typeface="+mn-lt"/>
              </a:defRPr>
            </a:lvl1pPr>
            <a:lvl2pPr marL="449263" indent="-177800">
              <a:spcBef>
                <a:spcPts val="0"/>
              </a:spcBef>
              <a:defRPr sz="900">
                <a:latin typeface="+mn-lt"/>
              </a:defRPr>
            </a:lvl2pPr>
            <a:lvl3pPr marL="719138" indent="-177800">
              <a:spcBef>
                <a:spcPts val="0"/>
              </a:spcBef>
              <a:defRPr sz="9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8779011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4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mplate CV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12"/>
          <p:cNvSpPr txBox="1"/>
          <p:nvPr/>
        </p:nvSpPr>
        <p:spPr>
          <a:xfrm>
            <a:off x="695277" y="3022168"/>
            <a:ext cx="865083" cy="18000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rPr>
              <a:t>Expertise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</a:endParaRPr>
          </a:p>
        </p:txBody>
      </p:sp>
      <p:sp>
        <p:nvSpPr>
          <p:cNvPr id="9" name="ZoneTexte 12"/>
          <p:cNvSpPr txBox="1"/>
          <p:nvPr/>
        </p:nvSpPr>
        <p:spPr>
          <a:xfrm>
            <a:off x="695277" y="4260283"/>
            <a:ext cx="1861126" cy="18000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rPr>
              <a:t>Practices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</a:endParaRPr>
          </a:p>
        </p:txBody>
      </p:sp>
      <p:sp>
        <p:nvSpPr>
          <p:cNvPr id="10" name="ZoneTexte 12"/>
          <p:cNvSpPr txBox="1"/>
          <p:nvPr/>
        </p:nvSpPr>
        <p:spPr>
          <a:xfrm>
            <a:off x="695277" y="5315049"/>
            <a:ext cx="1414800" cy="181455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rPr>
              <a:t>Main experiences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</a:endParaRPr>
          </a:p>
        </p:txBody>
      </p:sp>
      <p:sp>
        <p:nvSpPr>
          <p:cNvPr id="11" name="ZoneTexte 12"/>
          <p:cNvSpPr txBox="1"/>
          <p:nvPr/>
        </p:nvSpPr>
        <p:spPr>
          <a:xfrm>
            <a:off x="695277" y="2259698"/>
            <a:ext cx="864000" cy="18000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rPr>
              <a:t>Education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</a:endParaRPr>
          </a:p>
        </p:txBody>
      </p:sp>
      <p:sp>
        <p:nvSpPr>
          <p:cNvPr id="12" name="ZoneTexte 12"/>
          <p:cNvSpPr txBox="1"/>
          <p:nvPr/>
        </p:nvSpPr>
        <p:spPr>
          <a:xfrm>
            <a:off x="4239991" y="2259698"/>
            <a:ext cx="1714427" cy="18000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rPr>
              <a:t>Main references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</a:endParaRPr>
          </a:p>
        </p:txBody>
      </p:sp>
      <p:cxnSp>
        <p:nvCxnSpPr>
          <p:cNvPr id="13" name="Connecteur droit 12"/>
          <p:cNvCxnSpPr>
            <a:cxnSpLocks/>
          </p:cNvCxnSpPr>
          <p:nvPr/>
        </p:nvCxnSpPr>
        <p:spPr>
          <a:xfrm>
            <a:off x="4508740" y="770626"/>
            <a:ext cx="4634423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/>
          <p:cNvCxnSpPr>
            <a:cxnSpLocks/>
          </p:cNvCxnSpPr>
          <p:nvPr/>
        </p:nvCxnSpPr>
        <p:spPr>
          <a:xfrm>
            <a:off x="5495026" y="2349698"/>
            <a:ext cx="3648137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/>
          <p:cNvCxnSpPr>
            <a:cxnSpLocks/>
          </p:cNvCxnSpPr>
          <p:nvPr/>
        </p:nvCxnSpPr>
        <p:spPr>
          <a:xfrm>
            <a:off x="1575702" y="2349698"/>
            <a:ext cx="2332723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/>
          <p:cNvCxnSpPr>
            <a:cxnSpLocks/>
          </p:cNvCxnSpPr>
          <p:nvPr/>
        </p:nvCxnSpPr>
        <p:spPr>
          <a:xfrm>
            <a:off x="1575702" y="3112168"/>
            <a:ext cx="2332723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/>
          <p:cNvCxnSpPr>
            <a:cxnSpLocks/>
          </p:cNvCxnSpPr>
          <p:nvPr/>
        </p:nvCxnSpPr>
        <p:spPr>
          <a:xfrm>
            <a:off x="1429644" y="4350283"/>
            <a:ext cx="2478781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17"/>
          <p:cNvCxnSpPr>
            <a:cxnSpLocks/>
          </p:cNvCxnSpPr>
          <p:nvPr/>
        </p:nvCxnSpPr>
        <p:spPr>
          <a:xfrm>
            <a:off x="1984075" y="5406504"/>
            <a:ext cx="1924350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Espace réservé pour une image  22"/>
          <p:cNvSpPr>
            <a:spLocks noGrp="1"/>
          </p:cNvSpPr>
          <p:nvPr>
            <p:ph type="pic" sz="quarter" idx="10"/>
          </p:nvPr>
        </p:nvSpPr>
        <p:spPr>
          <a:xfrm>
            <a:off x="695277" y="585014"/>
            <a:ext cx="1414800" cy="1413684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1" hasCustomPrompt="1"/>
          </p:nvPr>
        </p:nvSpPr>
        <p:spPr>
          <a:xfrm>
            <a:off x="2447925" y="585016"/>
            <a:ext cx="1856656" cy="23211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kumimoji="0" lang="fr-FR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j-ea"/>
                <a:cs typeface="Trebuchet MS"/>
              </a:defRPr>
            </a:lvl1pPr>
            <a:lvl2pPr marL="0" indent="0">
              <a:buNone/>
              <a:defRPr lang="fr-FR" sz="1200" kern="1200" dirty="0" smtClean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</a:defRPr>
            </a:lvl2pPr>
            <a:lvl3pPr marL="847725" indent="0">
              <a:buNone/>
              <a:defRPr/>
            </a:lvl3pPr>
            <a:lvl4pPr marL="1368425" indent="0">
              <a:buNone/>
              <a:defRPr/>
            </a:lvl4pPr>
            <a:lvl5pPr marL="1981200" indent="0">
              <a:buNone/>
              <a:defRPr/>
            </a:lvl5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First name</a:t>
            </a:r>
          </a:p>
        </p:txBody>
      </p:sp>
      <p:sp>
        <p:nvSpPr>
          <p:cNvPr id="27" name="Espace réservé du texte 24"/>
          <p:cNvSpPr>
            <a:spLocks noGrp="1"/>
          </p:cNvSpPr>
          <p:nvPr>
            <p:ph type="body" sz="quarter" idx="12" hasCustomPrompt="1"/>
          </p:nvPr>
        </p:nvSpPr>
        <p:spPr>
          <a:xfrm>
            <a:off x="2447925" y="827952"/>
            <a:ext cx="6695237" cy="223279"/>
          </a:xfrm>
        </p:spPr>
        <p:txBody>
          <a:bodyPr>
            <a:noAutofit/>
          </a:bodyPr>
          <a:lstStyle>
            <a:lvl1pPr marL="0" indent="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fr-FR" sz="1200" b="1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  <a:lvl2pPr marL="0" indent="0">
              <a:buNone/>
              <a:defRPr lang="fr-FR" sz="1200" kern="1200" dirty="0" smtClean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</a:defRPr>
            </a:lvl2pPr>
            <a:lvl3pPr marL="847725" indent="0">
              <a:buNone/>
              <a:defRPr/>
            </a:lvl3pPr>
            <a:lvl4pPr marL="1368425" indent="0">
              <a:buNone/>
              <a:defRPr/>
            </a:lvl4pPr>
            <a:lvl5pPr marL="1981200" indent="0">
              <a:buNone/>
              <a:defRPr/>
            </a:lvl5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Position</a:t>
            </a:r>
          </a:p>
        </p:txBody>
      </p:sp>
      <p:sp>
        <p:nvSpPr>
          <p:cNvPr id="28" name="Espace réservé du texte 24"/>
          <p:cNvSpPr>
            <a:spLocks noGrp="1"/>
          </p:cNvSpPr>
          <p:nvPr>
            <p:ph type="body" sz="quarter" idx="13" hasCustomPrompt="1"/>
          </p:nvPr>
        </p:nvSpPr>
        <p:spPr>
          <a:xfrm>
            <a:off x="2447925" y="1172877"/>
            <a:ext cx="6695238" cy="825821"/>
          </a:xfrm>
        </p:spPr>
        <p:txBody>
          <a:bodyPr>
            <a:noAutofit/>
          </a:bodyPr>
          <a:lstStyle>
            <a:lvl1pPr marL="0" indent="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fr-FR" sz="10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  <a:lvl2pPr marL="0" indent="0">
              <a:buNone/>
              <a:defRPr lang="fr-FR" sz="1200" kern="1200" dirty="0" smtClean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</a:defRPr>
            </a:lvl2pPr>
            <a:lvl3pPr marL="847725" indent="0">
              <a:buNone/>
              <a:defRPr/>
            </a:lvl3pPr>
            <a:lvl4pPr marL="1368425" indent="0">
              <a:buNone/>
              <a:defRPr/>
            </a:lvl4pPr>
            <a:lvl5pPr marL="1981200" indent="0">
              <a:buNone/>
              <a:defRPr/>
            </a:lvl5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Description of your background</a:t>
            </a:r>
          </a:p>
        </p:txBody>
      </p:sp>
      <p:sp>
        <p:nvSpPr>
          <p:cNvPr id="32" name="Espace réservé du texte 31"/>
          <p:cNvSpPr>
            <a:spLocks noGrp="1"/>
          </p:cNvSpPr>
          <p:nvPr>
            <p:ph type="body" sz="quarter" idx="14"/>
          </p:nvPr>
        </p:nvSpPr>
        <p:spPr>
          <a:xfrm>
            <a:off x="614362" y="2397124"/>
            <a:ext cx="3294063" cy="563205"/>
          </a:xfrm>
        </p:spPr>
        <p:txBody>
          <a:bodyPr>
            <a:noAutofit/>
          </a:bodyPr>
          <a:lstStyle>
            <a:lvl1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1pPr>
            <a:lvl2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2pPr>
            <a:lvl3pPr marL="376238" indent="-285750">
              <a:defRPr/>
            </a:lvl3pPr>
            <a:lvl4pPr marL="376238" indent="-285750">
              <a:defRPr/>
            </a:lvl4pPr>
            <a:lvl5pPr marL="376238" indent="-285750">
              <a:defRPr/>
            </a:lvl5pPr>
          </a:lstStyle>
          <a:p>
            <a:pPr marL="261938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Click to edit Master text styles</a:t>
            </a:r>
          </a:p>
          <a:p>
            <a:pPr marL="261938" marR="0" lvl="1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Second level</a:t>
            </a:r>
          </a:p>
        </p:txBody>
      </p:sp>
      <p:sp>
        <p:nvSpPr>
          <p:cNvPr id="22" name="Espace réservé du texte 31">
            <a:extLst>
              <a:ext uri="{FF2B5EF4-FFF2-40B4-BE49-F238E27FC236}">
                <a16:creationId xmlns:a16="http://schemas.microsoft.com/office/drawing/2014/main" id="{342CD983-0F8D-40FF-82D1-B11C2C94199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4362" y="3168713"/>
            <a:ext cx="3294063" cy="1028279"/>
          </a:xfrm>
        </p:spPr>
        <p:txBody>
          <a:bodyPr>
            <a:noAutofit/>
          </a:bodyPr>
          <a:lstStyle>
            <a:lvl1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1pPr>
            <a:lvl2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2pPr>
            <a:lvl3pPr marL="376238" indent="-285750">
              <a:defRPr/>
            </a:lvl3pPr>
            <a:lvl4pPr marL="376238" indent="-285750">
              <a:defRPr/>
            </a:lvl4pPr>
            <a:lvl5pPr marL="376238" indent="-285750">
              <a:defRPr/>
            </a:lvl5pPr>
          </a:lstStyle>
          <a:p>
            <a:pPr marL="261938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Click to edit Master text styles</a:t>
            </a:r>
          </a:p>
          <a:p>
            <a:pPr marL="261938" marR="0" lvl="1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Second level</a:t>
            </a:r>
          </a:p>
        </p:txBody>
      </p:sp>
      <p:sp>
        <p:nvSpPr>
          <p:cNvPr id="24" name="Espace réservé du texte 31">
            <a:extLst>
              <a:ext uri="{FF2B5EF4-FFF2-40B4-BE49-F238E27FC236}">
                <a16:creationId xmlns:a16="http://schemas.microsoft.com/office/drawing/2014/main" id="{A295C34A-668C-4A46-BD08-0C6FAA382DF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4362" y="4419943"/>
            <a:ext cx="3294063" cy="833269"/>
          </a:xfrm>
        </p:spPr>
        <p:txBody>
          <a:bodyPr>
            <a:noAutofit/>
          </a:bodyPr>
          <a:lstStyle>
            <a:lvl1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1pPr>
            <a:lvl2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2pPr>
            <a:lvl3pPr marL="376238" indent="-285750">
              <a:defRPr/>
            </a:lvl3pPr>
            <a:lvl4pPr marL="376238" indent="-285750">
              <a:defRPr/>
            </a:lvl4pPr>
            <a:lvl5pPr marL="376238" indent="-285750">
              <a:defRPr/>
            </a:lvl5pPr>
          </a:lstStyle>
          <a:p>
            <a:pPr marL="261938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Click to edit Master text styles</a:t>
            </a:r>
          </a:p>
          <a:p>
            <a:pPr marL="261938" marR="0" lvl="1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Second level</a:t>
            </a:r>
          </a:p>
        </p:txBody>
      </p:sp>
      <p:sp>
        <p:nvSpPr>
          <p:cNvPr id="29" name="Espace réservé du texte 31">
            <a:extLst>
              <a:ext uri="{FF2B5EF4-FFF2-40B4-BE49-F238E27FC236}">
                <a16:creationId xmlns:a16="http://schemas.microsoft.com/office/drawing/2014/main" id="{C2DB6C3B-8215-4E18-9248-5A220050387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4362" y="5476163"/>
            <a:ext cx="3294063" cy="721413"/>
          </a:xfrm>
        </p:spPr>
        <p:txBody>
          <a:bodyPr>
            <a:noAutofit/>
          </a:bodyPr>
          <a:lstStyle>
            <a:lvl1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1pPr>
            <a:lvl2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2pPr>
            <a:lvl3pPr marL="376238" indent="-285750">
              <a:defRPr/>
            </a:lvl3pPr>
            <a:lvl4pPr marL="376238" indent="-285750">
              <a:defRPr/>
            </a:lvl4pPr>
            <a:lvl5pPr marL="376238" indent="-285750">
              <a:defRPr/>
            </a:lvl5pPr>
          </a:lstStyle>
          <a:p>
            <a:pPr marL="261938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Click to edit Master text styles</a:t>
            </a:r>
          </a:p>
          <a:p>
            <a:pPr marL="261938" marR="0" lvl="1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Second level</a:t>
            </a:r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A4FB1480-BDA6-4E98-8947-9CE1D8CF26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40963" y="2397125"/>
            <a:ext cx="4902200" cy="3802063"/>
          </a:xfrm>
        </p:spPr>
        <p:txBody>
          <a:bodyPr/>
          <a:lstStyle>
            <a:lvl1pPr marL="182563" indent="-182563">
              <a:spcBef>
                <a:spcPts val="0"/>
              </a:spcBef>
              <a:defRPr sz="1000">
                <a:latin typeface="+mn-lt"/>
              </a:defRPr>
            </a:lvl1pPr>
            <a:lvl2pPr marL="449263" indent="-177800">
              <a:spcBef>
                <a:spcPts val="0"/>
              </a:spcBef>
              <a:defRPr sz="900">
                <a:latin typeface="+mn-lt"/>
              </a:defRPr>
            </a:lvl2pPr>
            <a:lvl3pPr marL="719138" indent="-177800">
              <a:spcBef>
                <a:spcPts val="0"/>
              </a:spcBef>
              <a:defRPr sz="9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3747264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46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usiness cas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contenu 11">
            <a:extLst>
              <a:ext uri="{FF2B5EF4-FFF2-40B4-BE49-F238E27FC236}">
                <a16:creationId xmlns:a16="http://schemas.microsoft.com/office/drawing/2014/main" id="{E763F58E-54A5-4D52-95D3-D92F1F058AA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366838" y="1333721"/>
            <a:ext cx="8231187" cy="690563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z="1400">
                <a:solidFill>
                  <a:schemeClr val="tx2"/>
                </a:solidFill>
                <a:latin typeface="+mj-lt"/>
              </a:rPr>
              <a:t>Click to edit Master text styles</a:t>
            </a:r>
          </a:p>
        </p:txBody>
      </p:sp>
      <p:sp>
        <p:nvSpPr>
          <p:cNvPr id="3" name="Titre 1"/>
          <p:cNvSpPr txBox="1">
            <a:spLocks/>
          </p:cNvSpPr>
          <p:nvPr/>
        </p:nvSpPr>
        <p:spPr bwMode="auto">
          <a:xfrm>
            <a:off x="350860" y="130211"/>
            <a:ext cx="8873301" cy="286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 dirty="0">
              <a:ln>
                <a:noFill/>
              </a:ln>
              <a:solidFill>
                <a:srgbClr val="289B38"/>
              </a:solidFill>
              <a:effectLst/>
              <a:uLnTx/>
              <a:uFillTx/>
              <a:latin typeface="Trebuchet MS" panose="020B0603020202020204" pitchFamily="34" charset="0"/>
              <a:ea typeface="+mj-ea"/>
              <a:cs typeface="Trebuchet MS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373029" y="2111021"/>
            <a:ext cx="3751296" cy="44719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dirty="0">
                <a:solidFill>
                  <a:schemeClr val="tx1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4232275" y="2111021"/>
            <a:ext cx="3534882" cy="44719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dirty="0">
                <a:solidFill>
                  <a:schemeClr val="tx1"/>
                </a:solidFill>
                <a:latin typeface="Trebuchet MS" panose="020B0603020202020204" pitchFamily="34" charset="0"/>
              </a:rPr>
              <a:t>Apports et Méthodologie eleven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344381" y="2704131"/>
            <a:ext cx="3600000" cy="358818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indent="-88900">
              <a:buFont typeface="Arial" pitchFamily="34" charset="0"/>
              <a:buChar char="•"/>
            </a:pPr>
            <a:endParaRPr lang="fr-FR" sz="800" dirty="0">
              <a:solidFill>
                <a:srgbClr val="FFFFFF">
                  <a:lumMod val="65000"/>
                </a:srgbClr>
              </a:solidFill>
              <a:latin typeface="Trebuchet MS" panose="020B0603020202020204" pitchFamily="34" charset="0"/>
            </a:endParaRPr>
          </a:p>
        </p:txBody>
      </p:sp>
      <p:cxnSp>
        <p:nvCxnSpPr>
          <p:cNvPr id="8" name="Connecteur droit 7"/>
          <p:cNvCxnSpPr>
            <a:cxnSpLocks/>
          </p:cNvCxnSpPr>
          <p:nvPr/>
        </p:nvCxnSpPr>
        <p:spPr>
          <a:xfrm>
            <a:off x="344381" y="2556212"/>
            <a:ext cx="3779944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9" name="Connecteur droit 8"/>
          <p:cNvCxnSpPr>
            <a:cxnSpLocks/>
          </p:cNvCxnSpPr>
          <p:nvPr/>
        </p:nvCxnSpPr>
        <p:spPr>
          <a:xfrm>
            <a:off x="344381" y="2111021"/>
            <a:ext cx="3779944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10" name="Connecteur droit 9"/>
          <p:cNvCxnSpPr>
            <a:cxnSpLocks/>
          </p:cNvCxnSpPr>
          <p:nvPr/>
        </p:nvCxnSpPr>
        <p:spPr>
          <a:xfrm>
            <a:off x="4232275" y="2556212"/>
            <a:ext cx="5365750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11" name="Connecteur droit 10"/>
          <p:cNvCxnSpPr>
            <a:cxnSpLocks/>
          </p:cNvCxnSpPr>
          <p:nvPr/>
        </p:nvCxnSpPr>
        <p:spPr>
          <a:xfrm>
            <a:off x="4232275" y="2111021"/>
            <a:ext cx="5365750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18" name="Connecteur droit 17"/>
          <p:cNvCxnSpPr>
            <a:cxnSpLocks/>
          </p:cNvCxnSpPr>
          <p:nvPr/>
        </p:nvCxnSpPr>
        <p:spPr>
          <a:xfrm>
            <a:off x="344381" y="1264044"/>
            <a:ext cx="9253644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sp>
        <p:nvSpPr>
          <p:cNvPr id="29" name="Espace réservé pour une image  28"/>
          <p:cNvSpPr>
            <a:spLocks noGrp="1"/>
          </p:cNvSpPr>
          <p:nvPr>
            <p:ph type="pic" sz="quarter" idx="10"/>
          </p:nvPr>
        </p:nvSpPr>
        <p:spPr>
          <a:xfrm>
            <a:off x="8213739" y="2768935"/>
            <a:ext cx="1384286" cy="1371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Espace réservé pour une image  28"/>
          <p:cNvSpPr>
            <a:spLocks noGrp="1"/>
          </p:cNvSpPr>
          <p:nvPr>
            <p:ph type="pic" sz="quarter" idx="11"/>
          </p:nvPr>
        </p:nvSpPr>
        <p:spPr>
          <a:xfrm>
            <a:off x="8213739" y="4243614"/>
            <a:ext cx="1384286" cy="1371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Espace réservé du texte 31"/>
          <p:cNvSpPr>
            <a:spLocks noGrp="1"/>
          </p:cNvSpPr>
          <p:nvPr>
            <p:ph type="body" sz="quarter" idx="12"/>
          </p:nvPr>
        </p:nvSpPr>
        <p:spPr>
          <a:xfrm>
            <a:off x="4232275" y="2635615"/>
            <a:ext cx="3874558" cy="3748251"/>
          </a:xfrm>
        </p:spPr>
        <p:txBody>
          <a:bodyPr/>
          <a:lstStyle>
            <a:lvl1pPr marL="0" indent="0">
              <a:buNone/>
              <a:defRPr lang="fr-FR" sz="105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1pPr>
            <a:lvl2pPr marL="533400" indent="0">
              <a:buNone/>
              <a:defRPr lang="fr-FR" sz="10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2pPr>
            <a:lvl3pPr marL="847725" indent="0" defTabSz="982663">
              <a:buNone/>
              <a:defRPr lang="fr-FR" sz="10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3pPr>
            <a:lvl4pPr marL="1431925" indent="-63500">
              <a:defRPr lang="fr-FR" sz="1000" kern="1200" dirty="0" smtClean="0">
                <a:solidFill>
                  <a:srgbClr val="FFFFFF">
                    <a:lumMod val="65000"/>
                  </a:srgbClr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2062163" indent="-80963">
              <a:defRPr lang="en-US" sz="1000" kern="1200" dirty="0">
                <a:solidFill>
                  <a:srgbClr val="FFFFFF">
                    <a:lumMod val="65000"/>
                  </a:srgbClr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Espace réservé du texte 33"/>
          <p:cNvSpPr>
            <a:spLocks noGrp="1"/>
          </p:cNvSpPr>
          <p:nvPr>
            <p:ph type="body" sz="quarter" idx="13" hasCustomPrompt="1"/>
          </p:nvPr>
        </p:nvSpPr>
        <p:spPr>
          <a:xfrm>
            <a:off x="344488" y="103188"/>
            <a:ext cx="9253537" cy="310008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533400" indent="0">
              <a:buNone/>
              <a:defRPr/>
            </a:lvl2pPr>
            <a:lvl3pPr marL="847725" indent="0">
              <a:buNone/>
              <a:defRPr/>
            </a:lvl3pPr>
            <a:lvl4pPr marL="1368425" indent="0">
              <a:buNone/>
              <a:defRPr/>
            </a:lvl4pPr>
            <a:lvl5pPr marL="1981200" indent="0">
              <a:buNone/>
              <a:defRPr/>
            </a:lvl5pPr>
          </a:lstStyle>
          <a:p>
            <a:pPr lvl="0"/>
            <a:r>
              <a:rPr lang="fr-FR" dirty="0"/>
              <a:t>Business Case</a:t>
            </a:r>
          </a:p>
        </p:txBody>
      </p:sp>
      <p:sp>
        <p:nvSpPr>
          <p:cNvPr id="37" name="Espace réservé du texte 33"/>
          <p:cNvSpPr>
            <a:spLocks noGrp="1"/>
          </p:cNvSpPr>
          <p:nvPr>
            <p:ph type="body" sz="quarter" idx="14" hasCustomPrompt="1"/>
          </p:nvPr>
        </p:nvSpPr>
        <p:spPr>
          <a:xfrm>
            <a:off x="344381" y="440219"/>
            <a:ext cx="9253644" cy="675906"/>
          </a:xfrm>
        </p:spPr>
        <p:txBody>
          <a:bodyPr>
            <a:normAutofit/>
          </a:bodyPr>
          <a:lstStyle>
            <a:lvl1pPr marL="0" indent="0">
              <a:buNone/>
              <a:defRPr lang="fr-FR" sz="1400" b="0" kern="0" dirty="0" smtClean="0">
                <a:solidFill>
                  <a:schemeClr val="tx1"/>
                </a:solidFill>
                <a:latin typeface="+mj-lt"/>
                <a:ea typeface="+mj-ea"/>
                <a:cs typeface="Trebuchet MS"/>
              </a:defRPr>
            </a:lvl1pPr>
            <a:lvl2pPr marL="533400" indent="0">
              <a:buNone/>
              <a:defRPr/>
            </a:lvl2pPr>
            <a:lvl3pPr marL="847725" indent="0">
              <a:buNone/>
              <a:defRPr/>
            </a:lvl3pPr>
            <a:lvl4pPr marL="1368425" indent="0">
              <a:buNone/>
              <a:defRPr/>
            </a:lvl4pPr>
            <a:lvl5pPr marL="1981200" indent="0">
              <a:buNone/>
              <a:defRPr/>
            </a:lvl5pPr>
          </a:lstStyle>
          <a:p>
            <a:pPr lvl="0"/>
            <a:r>
              <a:rPr lang="fr-FR" dirty="0"/>
              <a:t>Explication résumée de la mission</a:t>
            </a:r>
          </a:p>
        </p:txBody>
      </p:sp>
      <p:sp>
        <p:nvSpPr>
          <p:cNvPr id="38" name="Espace réservé du texte 31"/>
          <p:cNvSpPr>
            <a:spLocks noGrp="1"/>
          </p:cNvSpPr>
          <p:nvPr>
            <p:ph type="body" sz="quarter" idx="15"/>
          </p:nvPr>
        </p:nvSpPr>
        <p:spPr>
          <a:xfrm>
            <a:off x="344381" y="2635615"/>
            <a:ext cx="3779944" cy="3748252"/>
          </a:xfrm>
        </p:spPr>
        <p:txBody>
          <a:bodyPr/>
          <a:lstStyle>
            <a:lvl1pPr marL="0" indent="0">
              <a:buNone/>
              <a:defRPr lang="fr-FR" sz="105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1pPr>
            <a:lvl2pPr marL="533400" indent="0">
              <a:buNone/>
              <a:defRPr lang="fr-FR" sz="10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2pPr>
            <a:lvl3pPr marL="847725" indent="0" defTabSz="982663">
              <a:buNone/>
              <a:defRPr lang="fr-FR" sz="10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3pPr>
            <a:lvl4pPr marL="1431925" indent="-63500">
              <a:defRPr lang="fr-FR" sz="1000" kern="1200" dirty="0" smtClean="0">
                <a:solidFill>
                  <a:srgbClr val="FFFFFF">
                    <a:lumMod val="65000"/>
                  </a:srgbClr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2062163" indent="-80963">
              <a:defRPr lang="en-US" sz="1000" kern="1200" dirty="0">
                <a:solidFill>
                  <a:srgbClr val="FFFFFF">
                    <a:lumMod val="65000"/>
                  </a:srgbClr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Espace réservé pour une image  28">
            <a:extLst>
              <a:ext uri="{FF2B5EF4-FFF2-40B4-BE49-F238E27FC236}">
                <a16:creationId xmlns:a16="http://schemas.microsoft.com/office/drawing/2014/main" id="{92CFB27C-379C-45BB-8380-E8B99691AFE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44488" y="1333755"/>
            <a:ext cx="906796" cy="690494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Pict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6071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04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EB0CA4-ABF4-4FE6-848B-8F17A87269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55625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16" imgH="423" progId="TCLayout.ActiveDocument.1">
                  <p:embed/>
                </p:oleObj>
              </mc:Choice>
              <mc:Fallback>
                <p:oleObj name="think-cell Slide" r:id="rId17" imgW="416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EB0CA4-ABF4-4FE6-848B-8F17A87269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388BF29-A5C6-4F46-8D5D-C2C0F0AE3B58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Rectangle 63"/>
          <p:cNvSpPr/>
          <p:nvPr/>
        </p:nvSpPr>
        <p:spPr bwMode="auto">
          <a:xfrm>
            <a:off x="2" y="6536995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165600" y="146048"/>
            <a:ext cx="9540000" cy="68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/>
              <a:t>Cliquez pour modifier le style du titre</a:t>
            </a:r>
            <a:endParaRPr lang="en-US" altLang="en-GB" dirty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9290315" y="6616042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#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63" name="Rectangle à coins arrondis 62"/>
          <p:cNvSpPr/>
          <p:nvPr>
            <p:custDataLst>
              <p:tags r:id="rId15"/>
            </p:custDataLst>
          </p:nvPr>
        </p:nvSpPr>
        <p:spPr bwMode="auto">
          <a:xfrm>
            <a:off x="127265" y="6599717"/>
            <a:ext cx="1037707" cy="186036"/>
          </a:xfrm>
          <a:prstGeom prst="roundRect">
            <a:avLst/>
          </a:prstGeom>
          <a:solidFill>
            <a:srgbClr val="FFFFFF">
              <a:alpha val="60000"/>
            </a:srgbClr>
          </a:solidFill>
          <a:ln w="9525" cap="flat" cmpd="sng" algn="ctr">
            <a:solidFill>
              <a:schemeClr val="bg1">
                <a:lumMod val="8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5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Logo client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165600" y="942560"/>
            <a:ext cx="9540000" cy="54356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grpSp>
        <p:nvGrpSpPr>
          <p:cNvPr id="107" name="Graphique 7">
            <a:extLst>
              <a:ext uri="{FF2B5EF4-FFF2-40B4-BE49-F238E27FC236}">
                <a16:creationId xmlns:a16="http://schemas.microsoft.com/office/drawing/2014/main" id="{DA489534-4203-4CA4-BD15-D78B14AEDF8D}"/>
              </a:ext>
            </a:extLst>
          </p:cNvPr>
          <p:cNvGrpSpPr/>
          <p:nvPr/>
        </p:nvGrpSpPr>
        <p:grpSpPr>
          <a:xfrm>
            <a:off x="8572252" y="6584579"/>
            <a:ext cx="565002" cy="216312"/>
            <a:chOff x="2428087" y="1950365"/>
            <a:chExt cx="4042782" cy="1547784"/>
          </a:xfrm>
        </p:grpSpPr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6CBA3F0F-0479-4194-8F8C-51F4FCD24997}"/>
                </a:ext>
              </a:extLst>
            </p:cNvPr>
            <p:cNvSpPr/>
            <p:nvPr/>
          </p:nvSpPr>
          <p:spPr>
            <a:xfrm>
              <a:off x="2436869" y="2236734"/>
              <a:ext cx="685800" cy="771525"/>
            </a:xfrm>
            <a:custGeom>
              <a:avLst/>
              <a:gdLst>
                <a:gd name="connsiteX0" fmla="*/ 673275 w 685800"/>
                <a:gd name="connsiteY0" fmla="*/ 400641 h 771525"/>
                <a:gd name="connsiteX1" fmla="*/ 144180 w 685800"/>
                <a:gd name="connsiteY1" fmla="*/ 400641 h 771525"/>
                <a:gd name="connsiteX2" fmla="*/ 214836 w 685800"/>
                <a:gd name="connsiteY2" fmla="*/ 598637 h 771525"/>
                <a:gd name="connsiteX3" fmla="*/ 375333 w 685800"/>
                <a:gd name="connsiteY3" fmla="*/ 658911 h 771525"/>
                <a:gd name="connsiteX4" fmla="*/ 561927 w 685800"/>
                <a:gd name="connsiteY4" fmla="*/ 593931 h 771525"/>
                <a:gd name="connsiteX5" fmla="*/ 616791 w 685800"/>
                <a:gd name="connsiteY5" fmla="*/ 687896 h 771525"/>
                <a:gd name="connsiteX6" fmla="*/ 524218 w 685800"/>
                <a:gd name="connsiteY6" fmla="*/ 739950 h 771525"/>
                <a:gd name="connsiteX7" fmla="*/ 350006 w 685800"/>
                <a:gd name="connsiteY7" fmla="*/ 768725 h 771525"/>
                <a:gd name="connsiteX8" fmla="*/ 114814 w 685800"/>
                <a:gd name="connsiteY8" fmla="*/ 674780 h 771525"/>
                <a:gd name="connsiteX9" fmla="*/ 7144 w 685800"/>
                <a:gd name="connsiteY9" fmla="*/ 396469 h 771525"/>
                <a:gd name="connsiteX10" fmla="*/ 117510 w 685800"/>
                <a:gd name="connsiteY10" fmla="*/ 105118 h 771525"/>
                <a:gd name="connsiteX11" fmla="*/ 351177 w 685800"/>
                <a:gd name="connsiteY11" fmla="*/ 7144 h 771525"/>
                <a:gd name="connsiteX12" fmla="*/ 597179 w 685800"/>
                <a:gd name="connsiteY12" fmla="*/ 95574 h 771525"/>
                <a:gd name="connsiteX13" fmla="*/ 683533 w 685800"/>
                <a:gd name="connsiteY13" fmla="*/ 321107 h 771525"/>
                <a:gd name="connsiteX14" fmla="*/ 673275 w 685800"/>
                <a:gd name="connsiteY14" fmla="*/ 400641 h 771525"/>
                <a:gd name="connsiteX15" fmla="*/ 357597 w 685800"/>
                <a:gd name="connsiteY15" fmla="*/ 116938 h 771525"/>
                <a:gd name="connsiteX16" fmla="*/ 211512 w 685800"/>
                <a:gd name="connsiteY16" fmla="*/ 173050 h 771525"/>
                <a:gd name="connsiteX17" fmla="*/ 147704 w 685800"/>
                <a:gd name="connsiteY17" fmla="*/ 305810 h 771525"/>
                <a:gd name="connsiteX18" fmla="*/ 554422 w 685800"/>
                <a:gd name="connsiteY18" fmla="*/ 305810 h 771525"/>
                <a:gd name="connsiteX19" fmla="*/ 505054 w 685800"/>
                <a:gd name="connsiteY19" fmla="*/ 174450 h 771525"/>
                <a:gd name="connsiteX20" fmla="*/ 357597 w 685800"/>
                <a:gd name="connsiteY20" fmla="*/ 116938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85800" h="771525">
                  <a:moveTo>
                    <a:pt x="673275" y="400641"/>
                  </a:moveTo>
                  <a:lnTo>
                    <a:pt x="144180" y="400641"/>
                  </a:lnTo>
                  <a:cubicBezTo>
                    <a:pt x="144180" y="486518"/>
                    <a:pt x="167735" y="552488"/>
                    <a:pt x="214836" y="598637"/>
                  </a:cubicBezTo>
                  <a:cubicBezTo>
                    <a:pt x="256470" y="638842"/>
                    <a:pt x="309934" y="658911"/>
                    <a:pt x="375333" y="658911"/>
                  </a:cubicBezTo>
                  <a:cubicBezTo>
                    <a:pt x="449885" y="658911"/>
                    <a:pt x="512083" y="637223"/>
                    <a:pt x="561927" y="593931"/>
                  </a:cubicBezTo>
                  <a:lnTo>
                    <a:pt x="616791" y="687896"/>
                  </a:lnTo>
                  <a:cubicBezTo>
                    <a:pt x="596627" y="707993"/>
                    <a:pt x="565775" y="725367"/>
                    <a:pt x="524218" y="739950"/>
                  </a:cubicBezTo>
                  <a:cubicBezTo>
                    <a:pt x="472116" y="759114"/>
                    <a:pt x="414033" y="768725"/>
                    <a:pt x="350006" y="768725"/>
                  </a:cubicBezTo>
                  <a:cubicBezTo>
                    <a:pt x="257670" y="768725"/>
                    <a:pt x="179261" y="737416"/>
                    <a:pt x="114814" y="674780"/>
                  </a:cubicBezTo>
                  <a:cubicBezTo>
                    <a:pt x="43005" y="605828"/>
                    <a:pt x="7144" y="513055"/>
                    <a:pt x="7144" y="396469"/>
                  </a:cubicBezTo>
                  <a:cubicBezTo>
                    <a:pt x="7144" y="275368"/>
                    <a:pt x="43929" y="178241"/>
                    <a:pt x="117510" y="105118"/>
                  </a:cubicBezTo>
                  <a:cubicBezTo>
                    <a:pt x="183290" y="39786"/>
                    <a:pt x="261176" y="7144"/>
                    <a:pt x="351177" y="7144"/>
                  </a:cubicBezTo>
                  <a:cubicBezTo>
                    <a:pt x="455762" y="7144"/>
                    <a:pt x="537772" y="36614"/>
                    <a:pt x="597179" y="95574"/>
                  </a:cubicBezTo>
                  <a:cubicBezTo>
                    <a:pt x="654758" y="152238"/>
                    <a:pt x="683533" y="227457"/>
                    <a:pt x="683533" y="321107"/>
                  </a:cubicBezTo>
                  <a:cubicBezTo>
                    <a:pt x="683543" y="349910"/>
                    <a:pt x="680085" y="376438"/>
                    <a:pt x="673275" y="400641"/>
                  </a:cubicBezTo>
                  <a:close/>
                  <a:moveTo>
                    <a:pt x="357597" y="116938"/>
                  </a:moveTo>
                  <a:cubicBezTo>
                    <a:pt x="299514" y="116938"/>
                    <a:pt x="250822" y="135674"/>
                    <a:pt x="211512" y="173050"/>
                  </a:cubicBezTo>
                  <a:cubicBezTo>
                    <a:pt x="174003" y="208636"/>
                    <a:pt x="152695" y="252879"/>
                    <a:pt x="147704" y="305810"/>
                  </a:cubicBezTo>
                  <a:lnTo>
                    <a:pt x="554422" y="305810"/>
                  </a:lnTo>
                  <a:cubicBezTo>
                    <a:pt x="554422" y="253375"/>
                    <a:pt x="537953" y="209588"/>
                    <a:pt x="505054" y="174450"/>
                  </a:cubicBezTo>
                  <a:cubicBezTo>
                    <a:pt x="468935" y="136103"/>
                    <a:pt x="419738" y="116938"/>
                    <a:pt x="357597" y="116938"/>
                  </a:cubicBezTo>
                  <a:close/>
                </a:path>
              </a:pathLst>
            </a:custGeom>
            <a:solidFill>
              <a:srgbClr val="289B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4D249624-9FD0-4145-B22A-AC25D93E72A2}"/>
                </a:ext>
              </a:extLst>
            </p:cNvPr>
            <p:cNvSpPr/>
            <p:nvPr/>
          </p:nvSpPr>
          <p:spPr>
            <a:xfrm>
              <a:off x="3259963" y="1950365"/>
              <a:ext cx="266700" cy="1057275"/>
            </a:xfrm>
            <a:custGeom>
              <a:avLst/>
              <a:gdLst>
                <a:gd name="connsiteX0" fmla="*/ 7144 w 266700"/>
                <a:gd name="connsiteY0" fmla="*/ 833847 h 1057275"/>
                <a:gd name="connsiteX1" fmla="*/ 7144 w 266700"/>
                <a:gd name="connsiteY1" fmla="*/ 7144 h 1057275"/>
                <a:gd name="connsiteX2" fmla="*/ 137160 w 266700"/>
                <a:gd name="connsiteY2" fmla="*/ 7144 h 1057275"/>
                <a:gd name="connsiteX3" fmla="*/ 137160 w 266700"/>
                <a:gd name="connsiteY3" fmla="*/ 811578 h 1057275"/>
                <a:gd name="connsiteX4" fmla="*/ 171136 w 266700"/>
                <a:gd name="connsiteY4" fmla="*/ 904389 h 1057275"/>
                <a:gd name="connsiteX5" fmla="*/ 260137 w 266700"/>
                <a:gd name="connsiteY5" fmla="*/ 938251 h 1057275"/>
                <a:gd name="connsiteX6" fmla="*/ 260137 w 266700"/>
                <a:gd name="connsiteY6" fmla="*/ 1055103 h 1057275"/>
                <a:gd name="connsiteX7" fmla="*/ 7144 w 266700"/>
                <a:gd name="connsiteY7" fmla="*/ 833847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6700" h="1057275">
                  <a:moveTo>
                    <a:pt x="7144" y="833847"/>
                  </a:moveTo>
                  <a:lnTo>
                    <a:pt x="7144" y="7144"/>
                  </a:lnTo>
                  <a:lnTo>
                    <a:pt x="137160" y="7144"/>
                  </a:lnTo>
                  <a:lnTo>
                    <a:pt x="137160" y="811578"/>
                  </a:lnTo>
                  <a:cubicBezTo>
                    <a:pt x="137160" y="850868"/>
                    <a:pt x="148523" y="881767"/>
                    <a:pt x="171136" y="904389"/>
                  </a:cubicBezTo>
                  <a:cubicBezTo>
                    <a:pt x="193872" y="926954"/>
                    <a:pt x="223514" y="938251"/>
                    <a:pt x="260137" y="938251"/>
                  </a:cubicBezTo>
                  <a:lnTo>
                    <a:pt x="260137" y="1055103"/>
                  </a:lnTo>
                  <a:cubicBezTo>
                    <a:pt x="91469" y="1055103"/>
                    <a:pt x="7144" y="981370"/>
                    <a:pt x="7144" y="833847"/>
                  </a:cubicBezTo>
                  <a:close/>
                </a:path>
              </a:pathLst>
            </a:custGeom>
            <a:solidFill>
              <a:srgbClr val="00A3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CE31266C-F592-4296-949B-8A9A91B0F6F7}"/>
                </a:ext>
              </a:extLst>
            </p:cNvPr>
            <p:cNvSpPr/>
            <p:nvPr/>
          </p:nvSpPr>
          <p:spPr>
            <a:xfrm>
              <a:off x="3615674" y="2236734"/>
              <a:ext cx="685800" cy="771525"/>
            </a:xfrm>
            <a:custGeom>
              <a:avLst/>
              <a:gdLst>
                <a:gd name="connsiteX0" fmla="*/ 673246 w 685800"/>
                <a:gd name="connsiteY0" fmla="*/ 400641 h 771525"/>
                <a:gd name="connsiteX1" fmla="*/ 144161 w 685800"/>
                <a:gd name="connsiteY1" fmla="*/ 400641 h 771525"/>
                <a:gd name="connsiteX2" fmla="*/ 214827 w 685800"/>
                <a:gd name="connsiteY2" fmla="*/ 598637 h 771525"/>
                <a:gd name="connsiteX3" fmla="*/ 375361 w 685800"/>
                <a:gd name="connsiteY3" fmla="*/ 658911 h 771525"/>
                <a:gd name="connsiteX4" fmla="*/ 561899 w 685800"/>
                <a:gd name="connsiteY4" fmla="*/ 593931 h 771525"/>
                <a:gd name="connsiteX5" fmla="*/ 616744 w 685800"/>
                <a:gd name="connsiteY5" fmla="*/ 687896 h 771525"/>
                <a:gd name="connsiteX6" fmla="*/ 524199 w 685800"/>
                <a:gd name="connsiteY6" fmla="*/ 739950 h 771525"/>
                <a:gd name="connsiteX7" fmla="*/ 350044 w 685800"/>
                <a:gd name="connsiteY7" fmla="*/ 768725 h 771525"/>
                <a:gd name="connsiteX8" fmla="*/ 114862 w 685800"/>
                <a:gd name="connsiteY8" fmla="*/ 674780 h 771525"/>
                <a:gd name="connsiteX9" fmla="*/ 7144 w 685800"/>
                <a:gd name="connsiteY9" fmla="*/ 396469 h 771525"/>
                <a:gd name="connsiteX10" fmla="*/ 117481 w 685800"/>
                <a:gd name="connsiteY10" fmla="*/ 105118 h 771525"/>
                <a:gd name="connsiteX11" fmla="*/ 351120 w 685800"/>
                <a:gd name="connsiteY11" fmla="*/ 7144 h 771525"/>
                <a:gd name="connsiteX12" fmla="*/ 597218 w 685800"/>
                <a:gd name="connsiteY12" fmla="*/ 95574 h 771525"/>
                <a:gd name="connsiteX13" fmla="*/ 683514 w 685800"/>
                <a:gd name="connsiteY13" fmla="*/ 321107 h 771525"/>
                <a:gd name="connsiteX14" fmla="*/ 673246 w 685800"/>
                <a:gd name="connsiteY14" fmla="*/ 400641 h 771525"/>
                <a:gd name="connsiteX15" fmla="*/ 357569 w 685800"/>
                <a:gd name="connsiteY15" fmla="*/ 116938 h 771525"/>
                <a:gd name="connsiteX16" fmla="*/ 211484 w 685800"/>
                <a:gd name="connsiteY16" fmla="*/ 173050 h 771525"/>
                <a:gd name="connsiteX17" fmla="*/ 147695 w 685800"/>
                <a:gd name="connsiteY17" fmla="*/ 305810 h 771525"/>
                <a:gd name="connsiteX18" fmla="*/ 554393 w 685800"/>
                <a:gd name="connsiteY18" fmla="*/ 305810 h 771525"/>
                <a:gd name="connsiteX19" fmla="*/ 505044 w 685800"/>
                <a:gd name="connsiteY19" fmla="*/ 174450 h 771525"/>
                <a:gd name="connsiteX20" fmla="*/ 357569 w 685800"/>
                <a:gd name="connsiteY20" fmla="*/ 116938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85800" h="771525">
                  <a:moveTo>
                    <a:pt x="673246" y="400641"/>
                  </a:moveTo>
                  <a:lnTo>
                    <a:pt x="144161" y="400641"/>
                  </a:lnTo>
                  <a:cubicBezTo>
                    <a:pt x="144161" y="486518"/>
                    <a:pt x="167716" y="552488"/>
                    <a:pt x="214827" y="598637"/>
                  </a:cubicBezTo>
                  <a:cubicBezTo>
                    <a:pt x="256442" y="638842"/>
                    <a:pt x="309982" y="658911"/>
                    <a:pt x="375361" y="658911"/>
                  </a:cubicBezTo>
                  <a:cubicBezTo>
                    <a:pt x="449847" y="658911"/>
                    <a:pt x="512055" y="637223"/>
                    <a:pt x="561899" y="593931"/>
                  </a:cubicBezTo>
                  <a:lnTo>
                    <a:pt x="616744" y="687896"/>
                  </a:lnTo>
                  <a:cubicBezTo>
                    <a:pt x="596656" y="707993"/>
                    <a:pt x="565804" y="725367"/>
                    <a:pt x="524199" y="739950"/>
                  </a:cubicBezTo>
                  <a:cubicBezTo>
                    <a:pt x="472078" y="759114"/>
                    <a:pt x="414071" y="768725"/>
                    <a:pt x="350044" y="768725"/>
                  </a:cubicBezTo>
                  <a:cubicBezTo>
                    <a:pt x="257718" y="768725"/>
                    <a:pt x="179299" y="737416"/>
                    <a:pt x="114862" y="674780"/>
                  </a:cubicBezTo>
                  <a:cubicBezTo>
                    <a:pt x="43043" y="605828"/>
                    <a:pt x="7144" y="513055"/>
                    <a:pt x="7144" y="396469"/>
                  </a:cubicBezTo>
                  <a:cubicBezTo>
                    <a:pt x="7144" y="275368"/>
                    <a:pt x="43910" y="178241"/>
                    <a:pt x="117481" y="105118"/>
                  </a:cubicBezTo>
                  <a:cubicBezTo>
                    <a:pt x="183261" y="39786"/>
                    <a:pt x="261147" y="7144"/>
                    <a:pt x="351120" y="7144"/>
                  </a:cubicBezTo>
                  <a:cubicBezTo>
                    <a:pt x="455790" y="7144"/>
                    <a:pt x="537791" y="36614"/>
                    <a:pt x="597218" y="95574"/>
                  </a:cubicBezTo>
                  <a:cubicBezTo>
                    <a:pt x="654739" y="152238"/>
                    <a:pt x="683514" y="227457"/>
                    <a:pt x="683514" y="321107"/>
                  </a:cubicBezTo>
                  <a:cubicBezTo>
                    <a:pt x="683524" y="349910"/>
                    <a:pt x="680104" y="376438"/>
                    <a:pt x="673246" y="400641"/>
                  </a:cubicBezTo>
                  <a:close/>
                  <a:moveTo>
                    <a:pt x="357569" y="116938"/>
                  </a:moveTo>
                  <a:cubicBezTo>
                    <a:pt x="299533" y="116938"/>
                    <a:pt x="250784" y="135674"/>
                    <a:pt x="211484" y="173050"/>
                  </a:cubicBezTo>
                  <a:cubicBezTo>
                    <a:pt x="173993" y="208636"/>
                    <a:pt x="152733" y="252879"/>
                    <a:pt x="147695" y="305810"/>
                  </a:cubicBezTo>
                  <a:lnTo>
                    <a:pt x="554393" y="305810"/>
                  </a:lnTo>
                  <a:cubicBezTo>
                    <a:pt x="554393" y="253375"/>
                    <a:pt x="537924" y="209588"/>
                    <a:pt x="505044" y="174450"/>
                  </a:cubicBezTo>
                  <a:cubicBezTo>
                    <a:pt x="468906" y="136103"/>
                    <a:pt x="419786" y="116938"/>
                    <a:pt x="357569" y="116938"/>
                  </a:cubicBezTo>
                  <a:close/>
                </a:path>
              </a:pathLst>
            </a:custGeom>
            <a:solidFill>
              <a:srgbClr val="289B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52DD5489-5FA5-4159-A400-D983F29F9C5F}"/>
                </a:ext>
              </a:extLst>
            </p:cNvPr>
            <p:cNvSpPr/>
            <p:nvPr/>
          </p:nvSpPr>
          <p:spPr>
            <a:xfrm>
              <a:off x="4343860" y="2249040"/>
              <a:ext cx="676275" cy="762000"/>
            </a:xfrm>
            <a:custGeom>
              <a:avLst/>
              <a:gdLst>
                <a:gd name="connsiteX0" fmla="*/ 355873 w 676275"/>
                <a:gd name="connsiteY0" fmla="*/ 756428 h 762000"/>
                <a:gd name="connsiteX1" fmla="*/ 321631 w 676275"/>
                <a:gd name="connsiteY1" fmla="*/ 756428 h 762000"/>
                <a:gd name="connsiteX2" fmla="*/ 7144 w 676275"/>
                <a:gd name="connsiteY2" fmla="*/ 7144 h 762000"/>
                <a:gd name="connsiteX3" fmla="*/ 149447 w 676275"/>
                <a:gd name="connsiteY3" fmla="*/ 7144 h 762000"/>
                <a:gd name="connsiteX4" fmla="*/ 343586 w 676275"/>
                <a:gd name="connsiteY4" fmla="*/ 521017 h 762000"/>
                <a:gd name="connsiteX5" fmla="*/ 542115 w 676275"/>
                <a:gd name="connsiteY5" fmla="*/ 7144 h 762000"/>
                <a:gd name="connsiteX6" fmla="*/ 678266 w 676275"/>
                <a:gd name="connsiteY6" fmla="*/ 7144 h 762000"/>
                <a:gd name="connsiteX7" fmla="*/ 355873 w 676275"/>
                <a:gd name="connsiteY7" fmla="*/ 756428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6275" h="762000">
                  <a:moveTo>
                    <a:pt x="355873" y="756428"/>
                  </a:moveTo>
                  <a:lnTo>
                    <a:pt x="321631" y="756428"/>
                  </a:lnTo>
                  <a:lnTo>
                    <a:pt x="7144" y="7144"/>
                  </a:lnTo>
                  <a:lnTo>
                    <a:pt x="149447" y="7144"/>
                  </a:lnTo>
                  <a:lnTo>
                    <a:pt x="343586" y="521017"/>
                  </a:lnTo>
                  <a:lnTo>
                    <a:pt x="542115" y="7144"/>
                  </a:lnTo>
                  <a:lnTo>
                    <a:pt x="678266" y="7144"/>
                  </a:lnTo>
                  <a:lnTo>
                    <a:pt x="355873" y="756428"/>
                  </a:lnTo>
                  <a:close/>
                </a:path>
              </a:pathLst>
            </a:custGeom>
            <a:solidFill>
              <a:srgbClr val="289B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A75AAFCD-35FF-4DEE-A912-0E394C43D96A}"/>
                </a:ext>
              </a:extLst>
            </p:cNvPr>
            <p:cNvSpPr/>
            <p:nvPr/>
          </p:nvSpPr>
          <p:spPr>
            <a:xfrm>
              <a:off x="5067808" y="2236734"/>
              <a:ext cx="685800" cy="771525"/>
            </a:xfrm>
            <a:custGeom>
              <a:avLst/>
              <a:gdLst>
                <a:gd name="connsiteX0" fmla="*/ 673227 w 685800"/>
                <a:gd name="connsiteY0" fmla="*/ 400641 h 771525"/>
                <a:gd name="connsiteX1" fmla="*/ 144151 w 685800"/>
                <a:gd name="connsiteY1" fmla="*/ 400641 h 771525"/>
                <a:gd name="connsiteX2" fmla="*/ 214827 w 685800"/>
                <a:gd name="connsiteY2" fmla="*/ 598637 h 771525"/>
                <a:gd name="connsiteX3" fmla="*/ 375295 w 685800"/>
                <a:gd name="connsiteY3" fmla="*/ 658911 h 771525"/>
                <a:gd name="connsiteX4" fmla="*/ 561832 w 685800"/>
                <a:gd name="connsiteY4" fmla="*/ 593931 h 771525"/>
                <a:gd name="connsiteX5" fmla="*/ 616791 w 685800"/>
                <a:gd name="connsiteY5" fmla="*/ 687896 h 771525"/>
                <a:gd name="connsiteX6" fmla="*/ 524208 w 685800"/>
                <a:gd name="connsiteY6" fmla="*/ 739950 h 771525"/>
                <a:gd name="connsiteX7" fmla="*/ 349996 w 685800"/>
                <a:gd name="connsiteY7" fmla="*/ 768725 h 771525"/>
                <a:gd name="connsiteX8" fmla="*/ 114805 w 685800"/>
                <a:gd name="connsiteY8" fmla="*/ 674780 h 771525"/>
                <a:gd name="connsiteX9" fmla="*/ 7144 w 685800"/>
                <a:gd name="connsiteY9" fmla="*/ 396469 h 771525"/>
                <a:gd name="connsiteX10" fmla="*/ 117491 w 685800"/>
                <a:gd name="connsiteY10" fmla="*/ 105118 h 771525"/>
                <a:gd name="connsiteX11" fmla="*/ 351158 w 685800"/>
                <a:gd name="connsiteY11" fmla="*/ 7144 h 771525"/>
                <a:gd name="connsiteX12" fmla="*/ 597180 w 685800"/>
                <a:gd name="connsiteY12" fmla="*/ 95574 h 771525"/>
                <a:gd name="connsiteX13" fmla="*/ 683514 w 685800"/>
                <a:gd name="connsiteY13" fmla="*/ 321107 h 771525"/>
                <a:gd name="connsiteX14" fmla="*/ 673227 w 685800"/>
                <a:gd name="connsiteY14" fmla="*/ 400641 h 771525"/>
                <a:gd name="connsiteX15" fmla="*/ 357559 w 685800"/>
                <a:gd name="connsiteY15" fmla="*/ 116938 h 771525"/>
                <a:gd name="connsiteX16" fmla="*/ 211474 w 685800"/>
                <a:gd name="connsiteY16" fmla="*/ 173050 h 771525"/>
                <a:gd name="connsiteX17" fmla="*/ 147695 w 685800"/>
                <a:gd name="connsiteY17" fmla="*/ 305810 h 771525"/>
                <a:gd name="connsiteX18" fmla="*/ 554364 w 685800"/>
                <a:gd name="connsiteY18" fmla="*/ 305810 h 771525"/>
                <a:gd name="connsiteX19" fmla="*/ 504968 w 685800"/>
                <a:gd name="connsiteY19" fmla="*/ 174450 h 771525"/>
                <a:gd name="connsiteX20" fmla="*/ 357559 w 685800"/>
                <a:gd name="connsiteY20" fmla="*/ 116938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85800" h="771525">
                  <a:moveTo>
                    <a:pt x="673227" y="400641"/>
                  </a:moveTo>
                  <a:lnTo>
                    <a:pt x="144151" y="400641"/>
                  </a:lnTo>
                  <a:cubicBezTo>
                    <a:pt x="144151" y="486518"/>
                    <a:pt x="167726" y="552488"/>
                    <a:pt x="214827" y="598637"/>
                  </a:cubicBezTo>
                  <a:cubicBezTo>
                    <a:pt x="256422" y="638842"/>
                    <a:pt x="309915" y="658911"/>
                    <a:pt x="375295" y="658911"/>
                  </a:cubicBezTo>
                  <a:cubicBezTo>
                    <a:pt x="449875" y="658911"/>
                    <a:pt x="512026" y="637223"/>
                    <a:pt x="561832" y="593931"/>
                  </a:cubicBezTo>
                  <a:lnTo>
                    <a:pt x="616791" y="687896"/>
                  </a:lnTo>
                  <a:cubicBezTo>
                    <a:pt x="596665" y="707993"/>
                    <a:pt x="565795" y="725367"/>
                    <a:pt x="524208" y="739950"/>
                  </a:cubicBezTo>
                  <a:cubicBezTo>
                    <a:pt x="472031" y="759114"/>
                    <a:pt x="414023" y="768725"/>
                    <a:pt x="349996" y="768725"/>
                  </a:cubicBezTo>
                  <a:cubicBezTo>
                    <a:pt x="257642" y="768725"/>
                    <a:pt x="179241" y="737416"/>
                    <a:pt x="114805" y="674780"/>
                  </a:cubicBezTo>
                  <a:cubicBezTo>
                    <a:pt x="43053" y="605828"/>
                    <a:pt x="7144" y="513055"/>
                    <a:pt x="7144" y="396469"/>
                  </a:cubicBezTo>
                  <a:cubicBezTo>
                    <a:pt x="7144" y="275368"/>
                    <a:pt x="43920" y="178241"/>
                    <a:pt x="117491" y="105118"/>
                  </a:cubicBezTo>
                  <a:cubicBezTo>
                    <a:pt x="183261" y="39786"/>
                    <a:pt x="261118" y="7144"/>
                    <a:pt x="351158" y="7144"/>
                  </a:cubicBezTo>
                  <a:cubicBezTo>
                    <a:pt x="455790" y="7144"/>
                    <a:pt x="537763" y="36614"/>
                    <a:pt x="597180" y="95574"/>
                  </a:cubicBezTo>
                  <a:cubicBezTo>
                    <a:pt x="654739" y="152238"/>
                    <a:pt x="683514" y="227457"/>
                    <a:pt x="683514" y="321107"/>
                  </a:cubicBezTo>
                  <a:cubicBezTo>
                    <a:pt x="683514" y="349910"/>
                    <a:pt x="680113" y="376438"/>
                    <a:pt x="673227" y="400641"/>
                  </a:cubicBezTo>
                  <a:close/>
                  <a:moveTo>
                    <a:pt x="357559" y="116938"/>
                  </a:moveTo>
                  <a:cubicBezTo>
                    <a:pt x="299495" y="116938"/>
                    <a:pt x="250774" y="135674"/>
                    <a:pt x="211474" y="173050"/>
                  </a:cubicBezTo>
                  <a:cubicBezTo>
                    <a:pt x="173984" y="208636"/>
                    <a:pt x="152733" y="252879"/>
                    <a:pt x="147695" y="305810"/>
                  </a:cubicBezTo>
                  <a:lnTo>
                    <a:pt x="554364" y="305810"/>
                  </a:lnTo>
                  <a:cubicBezTo>
                    <a:pt x="554364" y="253375"/>
                    <a:pt x="537915" y="209588"/>
                    <a:pt x="504968" y="174450"/>
                  </a:cubicBezTo>
                  <a:cubicBezTo>
                    <a:pt x="468849" y="136103"/>
                    <a:pt x="419710" y="116938"/>
                    <a:pt x="357559" y="116938"/>
                  </a:cubicBezTo>
                  <a:close/>
                </a:path>
              </a:pathLst>
            </a:custGeom>
            <a:solidFill>
              <a:srgbClr val="289B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088EE795-D007-467B-8DFB-6D1D135687B5}"/>
                </a:ext>
              </a:extLst>
            </p:cNvPr>
            <p:cNvSpPr/>
            <p:nvPr/>
          </p:nvSpPr>
          <p:spPr>
            <a:xfrm>
              <a:off x="5880319" y="2236743"/>
              <a:ext cx="590550" cy="752475"/>
            </a:xfrm>
            <a:custGeom>
              <a:avLst/>
              <a:gdLst>
                <a:gd name="connsiteX0" fmla="*/ 458667 w 590550"/>
                <a:gd name="connsiteY0" fmla="*/ 754666 h 752475"/>
                <a:gd name="connsiteX1" fmla="*/ 458667 w 590550"/>
                <a:gd name="connsiteY1" fmla="*/ 327908 h 752475"/>
                <a:gd name="connsiteX2" fmla="*/ 423386 w 590550"/>
                <a:gd name="connsiteY2" fmla="*/ 163859 h 752475"/>
                <a:gd name="connsiteX3" fmla="*/ 305105 w 590550"/>
                <a:gd name="connsiteY3" fmla="*/ 116919 h 752475"/>
                <a:gd name="connsiteX4" fmla="*/ 211874 w 590550"/>
                <a:gd name="connsiteY4" fmla="*/ 143675 h 752475"/>
                <a:gd name="connsiteX5" fmla="*/ 137170 w 590550"/>
                <a:gd name="connsiteY5" fmla="*/ 209417 h 752475"/>
                <a:gd name="connsiteX6" fmla="*/ 137170 w 590550"/>
                <a:gd name="connsiteY6" fmla="*/ 754656 h 752475"/>
                <a:gd name="connsiteX7" fmla="*/ 7144 w 590550"/>
                <a:gd name="connsiteY7" fmla="*/ 754656 h 752475"/>
                <a:gd name="connsiteX8" fmla="*/ 7144 w 590550"/>
                <a:gd name="connsiteY8" fmla="*/ 21193 h 752475"/>
                <a:gd name="connsiteX9" fmla="*/ 96231 w 590550"/>
                <a:gd name="connsiteY9" fmla="*/ 21193 h 752475"/>
                <a:gd name="connsiteX10" fmla="*/ 137284 w 590550"/>
                <a:gd name="connsiteY10" fmla="*/ 115719 h 752475"/>
                <a:gd name="connsiteX11" fmla="*/ 347529 w 590550"/>
                <a:gd name="connsiteY11" fmla="*/ 7144 h 752475"/>
                <a:gd name="connsiteX12" fmla="*/ 588673 w 590550"/>
                <a:gd name="connsiteY12" fmla="*/ 300352 h 752475"/>
                <a:gd name="connsiteX13" fmla="*/ 588673 w 590550"/>
                <a:gd name="connsiteY13" fmla="*/ 754666 h 752475"/>
                <a:gd name="connsiteX14" fmla="*/ 458667 w 590550"/>
                <a:gd name="connsiteY14" fmla="*/ 754666 h 752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90550" h="752475">
                  <a:moveTo>
                    <a:pt x="458667" y="754666"/>
                  </a:moveTo>
                  <a:lnTo>
                    <a:pt x="458667" y="327908"/>
                  </a:lnTo>
                  <a:cubicBezTo>
                    <a:pt x="458667" y="249831"/>
                    <a:pt x="446922" y="195148"/>
                    <a:pt x="423386" y="163859"/>
                  </a:cubicBezTo>
                  <a:cubicBezTo>
                    <a:pt x="399812" y="132559"/>
                    <a:pt x="360378" y="116919"/>
                    <a:pt x="305105" y="116919"/>
                  </a:cubicBezTo>
                  <a:cubicBezTo>
                    <a:pt x="275415" y="116919"/>
                    <a:pt x="244335" y="125835"/>
                    <a:pt x="211874" y="143675"/>
                  </a:cubicBezTo>
                  <a:cubicBezTo>
                    <a:pt x="179432" y="161439"/>
                    <a:pt x="154496" y="183413"/>
                    <a:pt x="137170" y="209417"/>
                  </a:cubicBezTo>
                  <a:lnTo>
                    <a:pt x="137170" y="754656"/>
                  </a:lnTo>
                  <a:lnTo>
                    <a:pt x="7144" y="754656"/>
                  </a:lnTo>
                  <a:lnTo>
                    <a:pt x="7144" y="21193"/>
                  </a:lnTo>
                  <a:lnTo>
                    <a:pt x="96231" y="21193"/>
                  </a:lnTo>
                  <a:lnTo>
                    <a:pt x="137284" y="115719"/>
                  </a:lnTo>
                  <a:cubicBezTo>
                    <a:pt x="180222" y="43282"/>
                    <a:pt x="250317" y="7144"/>
                    <a:pt x="347529" y="7144"/>
                  </a:cubicBezTo>
                  <a:cubicBezTo>
                    <a:pt x="508302" y="7144"/>
                    <a:pt x="588673" y="104918"/>
                    <a:pt x="588673" y="300352"/>
                  </a:cubicBezTo>
                  <a:lnTo>
                    <a:pt x="588673" y="754666"/>
                  </a:lnTo>
                  <a:lnTo>
                    <a:pt x="458667" y="754666"/>
                  </a:lnTo>
                  <a:close/>
                </a:path>
              </a:pathLst>
            </a:custGeom>
            <a:solidFill>
              <a:srgbClr val="289B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FAEC69A0-0687-4831-ABB6-7ED1B1B1A5E7}"/>
                </a:ext>
              </a:extLst>
            </p:cNvPr>
            <p:cNvSpPr/>
            <p:nvPr/>
          </p:nvSpPr>
          <p:spPr>
            <a:xfrm>
              <a:off x="2428087" y="3174813"/>
              <a:ext cx="161925" cy="238125"/>
            </a:xfrm>
            <a:custGeom>
              <a:avLst/>
              <a:gdLst>
                <a:gd name="connsiteX0" fmla="*/ 7144 w 161925"/>
                <a:gd name="connsiteY0" fmla="*/ 217989 h 238125"/>
                <a:gd name="connsiteX1" fmla="*/ 21717 w 161925"/>
                <a:gd name="connsiteY1" fmla="*/ 181032 h 238125"/>
                <a:gd name="connsiteX2" fmla="*/ 77400 w 161925"/>
                <a:gd name="connsiteY2" fmla="*/ 202378 h 238125"/>
                <a:gd name="connsiteX3" fmla="*/ 115691 w 161925"/>
                <a:gd name="connsiteY3" fmla="*/ 172002 h 238125"/>
                <a:gd name="connsiteX4" fmla="*/ 78715 w 161925"/>
                <a:gd name="connsiteY4" fmla="*/ 134636 h 238125"/>
                <a:gd name="connsiteX5" fmla="*/ 40319 w 161925"/>
                <a:gd name="connsiteY5" fmla="*/ 115957 h 238125"/>
                <a:gd name="connsiteX6" fmla="*/ 23136 w 161925"/>
                <a:gd name="connsiteY6" fmla="*/ 101479 h 238125"/>
                <a:gd name="connsiteX7" fmla="*/ 12259 w 161925"/>
                <a:gd name="connsiteY7" fmla="*/ 84230 h 238125"/>
                <a:gd name="connsiteX8" fmla="*/ 8677 w 161925"/>
                <a:gd name="connsiteY8" fmla="*/ 64627 h 238125"/>
                <a:gd name="connsiteX9" fmla="*/ 29556 w 161925"/>
                <a:gd name="connsiteY9" fmla="*/ 22346 h 238125"/>
                <a:gd name="connsiteX10" fmla="*/ 84153 w 161925"/>
                <a:gd name="connsiteY10" fmla="*/ 7144 h 238125"/>
                <a:gd name="connsiteX11" fmla="*/ 148323 w 161925"/>
                <a:gd name="connsiteY11" fmla="*/ 22346 h 238125"/>
                <a:gd name="connsiteX12" fmla="*/ 136579 w 161925"/>
                <a:gd name="connsiteY12" fmla="*/ 58474 h 238125"/>
                <a:gd name="connsiteX13" fmla="*/ 87201 w 161925"/>
                <a:gd name="connsiteY13" fmla="*/ 40005 h 238125"/>
                <a:gd name="connsiteX14" fmla="*/ 62293 w 161925"/>
                <a:gd name="connsiteY14" fmla="*/ 46568 h 238125"/>
                <a:gd name="connsiteX15" fmla="*/ 52178 w 161925"/>
                <a:gd name="connsiteY15" fmla="*/ 63189 h 238125"/>
                <a:gd name="connsiteX16" fmla="*/ 77629 w 161925"/>
                <a:gd name="connsiteY16" fmla="*/ 95212 h 238125"/>
                <a:gd name="connsiteX17" fmla="*/ 107213 w 161925"/>
                <a:gd name="connsiteY17" fmla="*/ 107937 h 238125"/>
                <a:gd name="connsiteX18" fmla="*/ 146799 w 161925"/>
                <a:gd name="connsiteY18" fmla="*/ 134626 h 238125"/>
                <a:gd name="connsiteX19" fmla="*/ 159201 w 161925"/>
                <a:gd name="connsiteY19" fmla="*/ 172193 h 238125"/>
                <a:gd name="connsiteX20" fmla="*/ 137227 w 161925"/>
                <a:gd name="connsiteY20" fmla="*/ 218484 h 238125"/>
                <a:gd name="connsiteX21" fmla="*/ 76314 w 161925"/>
                <a:gd name="connsiteY21" fmla="*/ 235210 h 238125"/>
                <a:gd name="connsiteX22" fmla="*/ 7144 w 161925"/>
                <a:gd name="connsiteY22" fmla="*/ 217989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1925" h="238125">
                  <a:moveTo>
                    <a:pt x="7144" y="217989"/>
                  </a:moveTo>
                  <a:lnTo>
                    <a:pt x="21717" y="181032"/>
                  </a:lnTo>
                  <a:cubicBezTo>
                    <a:pt x="44777" y="195263"/>
                    <a:pt x="63341" y="202378"/>
                    <a:pt x="77400" y="202378"/>
                  </a:cubicBezTo>
                  <a:cubicBezTo>
                    <a:pt x="102927" y="202378"/>
                    <a:pt x="115691" y="192253"/>
                    <a:pt x="115691" y="172002"/>
                  </a:cubicBezTo>
                  <a:cubicBezTo>
                    <a:pt x="115691" y="157505"/>
                    <a:pt x="103365" y="145047"/>
                    <a:pt x="78715" y="134636"/>
                  </a:cubicBezTo>
                  <a:cubicBezTo>
                    <a:pt x="59712" y="126435"/>
                    <a:pt x="46920" y="120196"/>
                    <a:pt x="40319" y="115957"/>
                  </a:cubicBezTo>
                  <a:cubicBezTo>
                    <a:pt x="33718" y="111719"/>
                    <a:pt x="27994" y="106899"/>
                    <a:pt x="23136" y="101479"/>
                  </a:cubicBezTo>
                  <a:cubicBezTo>
                    <a:pt x="18278" y="96079"/>
                    <a:pt x="14649" y="90326"/>
                    <a:pt x="12259" y="84230"/>
                  </a:cubicBezTo>
                  <a:cubicBezTo>
                    <a:pt x="9868" y="78143"/>
                    <a:pt x="8677" y="71609"/>
                    <a:pt x="8677" y="64627"/>
                  </a:cubicBezTo>
                  <a:cubicBezTo>
                    <a:pt x="8677" y="46568"/>
                    <a:pt x="15631" y="32471"/>
                    <a:pt x="29556" y="22346"/>
                  </a:cubicBezTo>
                  <a:cubicBezTo>
                    <a:pt x="43472" y="12221"/>
                    <a:pt x="61674" y="7144"/>
                    <a:pt x="84153" y="7144"/>
                  </a:cubicBezTo>
                  <a:cubicBezTo>
                    <a:pt x="101117" y="7144"/>
                    <a:pt x="122511" y="12211"/>
                    <a:pt x="148323" y="22346"/>
                  </a:cubicBezTo>
                  <a:lnTo>
                    <a:pt x="136579" y="58474"/>
                  </a:lnTo>
                  <a:cubicBezTo>
                    <a:pt x="120186" y="46158"/>
                    <a:pt x="103737" y="40005"/>
                    <a:pt x="87201" y="40005"/>
                  </a:cubicBezTo>
                  <a:cubicBezTo>
                    <a:pt x="77333" y="40005"/>
                    <a:pt x="69037" y="42186"/>
                    <a:pt x="62293" y="46568"/>
                  </a:cubicBezTo>
                  <a:cubicBezTo>
                    <a:pt x="55550" y="50949"/>
                    <a:pt x="52178" y="56493"/>
                    <a:pt x="52178" y="63189"/>
                  </a:cubicBezTo>
                  <a:cubicBezTo>
                    <a:pt x="52178" y="77286"/>
                    <a:pt x="60665" y="87963"/>
                    <a:pt x="77629" y="95212"/>
                  </a:cubicBezTo>
                  <a:lnTo>
                    <a:pt x="107213" y="107937"/>
                  </a:lnTo>
                  <a:cubicBezTo>
                    <a:pt x="125339" y="115738"/>
                    <a:pt x="138541" y="124644"/>
                    <a:pt x="146799" y="134626"/>
                  </a:cubicBezTo>
                  <a:cubicBezTo>
                    <a:pt x="155067" y="144628"/>
                    <a:pt x="159201" y="157143"/>
                    <a:pt x="159201" y="172193"/>
                  </a:cubicBezTo>
                  <a:cubicBezTo>
                    <a:pt x="159201" y="191900"/>
                    <a:pt x="151876" y="207331"/>
                    <a:pt x="137227" y="218484"/>
                  </a:cubicBezTo>
                  <a:cubicBezTo>
                    <a:pt x="122577" y="229638"/>
                    <a:pt x="102279" y="235210"/>
                    <a:pt x="76314" y="235210"/>
                  </a:cubicBezTo>
                  <a:cubicBezTo>
                    <a:pt x="51816" y="235229"/>
                    <a:pt x="28756" y="229476"/>
                    <a:pt x="7144" y="217989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C70ABF13-A3BB-40AE-82B8-C76685C17BB0}"/>
                </a:ext>
              </a:extLst>
            </p:cNvPr>
            <p:cNvSpPr/>
            <p:nvPr/>
          </p:nvSpPr>
          <p:spPr>
            <a:xfrm>
              <a:off x="2614139" y="3117968"/>
              <a:ext cx="161925" cy="295275"/>
            </a:xfrm>
            <a:custGeom>
              <a:avLst/>
              <a:gdLst>
                <a:gd name="connsiteX0" fmla="*/ 34119 w 161925"/>
                <a:gd name="connsiteY0" fmla="*/ 98898 h 295275"/>
                <a:gd name="connsiteX1" fmla="*/ 7144 w 161925"/>
                <a:gd name="connsiteY1" fmla="*/ 98898 h 295275"/>
                <a:gd name="connsiteX2" fmla="*/ 7144 w 161925"/>
                <a:gd name="connsiteY2" fmla="*/ 68113 h 295275"/>
                <a:gd name="connsiteX3" fmla="*/ 34119 w 161925"/>
                <a:gd name="connsiteY3" fmla="*/ 68113 h 295275"/>
                <a:gd name="connsiteX4" fmla="*/ 34119 w 161925"/>
                <a:gd name="connsiteY4" fmla="*/ 22127 h 295275"/>
                <a:gd name="connsiteX5" fmla="*/ 75448 w 161925"/>
                <a:gd name="connsiteY5" fmla="*/ 7144 h 295275"/>
                <a:gd name="connsiteX6" fmla="*/ 75448 w 161925"/>
                <a:gd name="connsiteY6" fmla="*/ 68113 h 295275"/>
                <a:gd name="connsiteX7" fmla="*/ 139398 w 161925"/>
                <a:gd name="connsiteY7" fmla="*/ 68113 h 295275"/>
                <a:gd name="connsiteX8" fmla="*/ 139398 w 161925"/>
                <a:gd name="connsiteY8" fmla="*/ 98898 h 295275"/>
                <a:gd name="connsiteX9" fmla="*/ 75448 w 161925"/>
                <a:gd name="connsiteY9" fmla="*/ 98898 h 295275"/>
                <a:gd name="connsiteX10" fmla="*/ 75448 w 161925"/>
                <a:gd name="connsiteY10" fmla="*/ 208112 h 295275"/>
                <a:gd name="connsiteX11" fmla="*/ 85344 w 161925"/>
                <a:gd name="connsiteY11" fmla="*/ 247526 h 295275"/>
                <a:gd name="connsiteX12" fmla="*/ 117215 w 161925"/>
                <a:gd name="connsiteY12" fmla="*/ 259232 h 295275"/>
                <a:gd name="connsiteX13" fmla="*/ 150066 w 161925"/>
                <a:gd name="connsiteY13" fmla="*/ 251641 h 295275"/>
                <a:gd name="connsiteX14" fmla="*/ 156153 w 161925"/>
                <a:gd name="connsiteY14" fmla="*/ 285922 h 295275"/>
                <a:gd name="connsiteX15" fmla="*/ 99812 w 161925"/>
                <a:gd name="connsiteY15" fmla="*/ 292075 h 295275"/>
                <a:gd name="connsiteX16" fmla="*/ 53150 w 161925"/>
                <a:gd name="connsiteY16" fmla="*/ 272682 h 295275"/>
                <a:gd name="connsiteX17" fmla="*/ 34119 w 161925"/>
                <a:gd name="connsiteY17" fmla="*/ 223714 h 295275"/>
                <a:gd name="connsiteX18" fmla="*/ 34119 w 161925"/>
                <a:gd name="connsiteY18" fmla="*/ 98898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295275">
                  <a:moveTo>
                    <a:pt x="34119" y="98898"/>
                  </a:moveTo>
                  <a:lnTo>
                    <a:pt x="7144" y="98898"/>
                  </a:lnTo>
                  <a:lnTo>
                    <a:pt x="7144" y="68113"/>
                  </a:lnTo>
                  <a:lnTo>
                    <a:pt x="34119" y="68113"/>
                  </a:lnTo>
                  <a:lnTo>
                    <a:pt x="34119" y="22127"/>
                  </a:lnTo>
                  <a:lnTo>
                    <a:pt x="75448" y="7144"/>
                  </a:lnTo>
                  <a:lnTo>
                    <a:pt x="75448" y="68113"/>
                  </a:lnTo>
                  <a:lnTo>
                    <a:pt x="139398" y="68113"/>
                  </a:lnTo>
                  <a:lnTo>
                    <a:pt x="139398" y="98898"/>
                  </a:lnTo>
                  <a:lnTo>
                    <a:pt x="75448" y="98898"/>
                  </a:lnTo>
                  <a:lnTo>
                    <a:pt x="75448" y="208112"/>
                  </a:lnTo>
                  <a:cubicBezTo>
                    <a:pt x="75448" y="226581"/>
                    <a:pt x="78743" y="239725"/>
                    <a:pt x="85344" y="247526"/>
                  </a:cubicBezTo>
                  <a:cubicBezTo>
                    <a:pt x="91945" y="255327"/>
                    <a:pt x="102565" y="259232"/>
                    <a:pt x="117215" y="259232"/>
                  </a:cubicBezTo>
                  <a:cubicBezTo>
                    <a:pt x="127797" y="259232"/>
                    <a:pt x="138751" y="256699"/>
                    <a:pt x="150066" y="251641"/>
                  </a:cubicBezTo>
                  <a:lnTo>
                    <a:pt x="156153" y="285922"/>
                  </a:lnTo>
                  <a:cubicBezTo>
                    <a:pt x="139046" y="290036"/>
                    <a:pt x="120263" y="292075"/>
                    <a:pt x="99812" y="292075"/>
                  </a:cubicBezTo>
                  <a:cubicBezTo>
                    <a:pt x="81391" y="292075"/>
                    <a:pt x="65837" y="285607"/>
                    <a:pt x="53150" y="272682"/>
                  </a:cubicBezTo>
                  <a:cubicBezTo>
                    <a:pt x="40453" y="259747"/>
                    <a:pt x="34119" y="243430"/>
                    <a:pt x="34119" y="223714"/>
                  </a:cubicBezTo>
                  <a:lnTo>
                    <a:pt x="34119" y="98898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CCD33DA9-D13B-4B91-9B5F-A81EE56A9444}"/>
                </a:ext>
              </a:extLst>
            </p:cNvPr>
            <p:cNvSpPr/>
            <p:nvPr/>
          </p:nvSpPr>
          <p:spPr>
            <a:xfrm>
              <a:off x="2808878" y="3174823"/>
              <a:ext cx="152400" cy="238125"/>
            </a:xfrm>
            <a:custGeom>
              <a:avLst/>
              <a:gdLst>
                <a:gd name="connsiteX0" fmla="*/ 130483 w 152400"/>
                <a:gd name="connsiteY0" fmla="*/ 48816 h 238125"/>
                <a:gd name="connsiteX1" fmla="*/ 103299 w 152400"/>
                <a:gd name="connsiteY1" fmla="*/ 39995 h 238125"/>
                <a:gd name="connsiteX2" fmla="*/ 64903 w 152400"/>
                <a:gd name="connsiteY2" fmla="*/ 59083 h 238125"/>
                <a:gd name="connsiteX3" fmla="*/ 48473 w 152400"/>
                <a:gd name="connsiteY3" fmla="*/ 105061 h 238125"/>
                <a:gd name="connsiteX4" fmla="*/ 48473 w 152400"/>
                <a:gd name="connsiteY4" fmla="*/ 231105 h 238125"/>
                <a:gd name="connsiteX5" fmla="*/ 7144 w 152400"/>
                <a:gd name="connsiteY5" fmla="*/ 231105 h 238125"/>
                <a:gd name="connsiteX6" fmla="*/ 7144 w 152400"/>
                <a:gd name="connsiteY6" fmla="*/ 11249 h 238125"/>
                <a:gd name="connsiteX7" fmla="*/ 48473 w 152400"/>
                <a:gd name="connsiteY7" fmla="*/ 11249 h 238125"/>
                <a:gd name="connsiteX8" fmla="*/ 48473 w 152400"/>
                <a:gd name="connsiteY8" fmla="*/ 46358 h 238125"/>
                <a:gd name="connsiteX9" fmla="*/ 115691 w 152400"/>
                <a:gd name="connsiteY9" fmla="*/ 7144 h 238125"/>
                <a:gd name="connsiteX10" fmla="*/ 147666 w 152400"/>
                <a:gd name="connsiteY10" fmla="*/ 10849 h 238125"/>
                <a:gd name="connsiteX11" fmla="*/ 130483 w 152400"/>
                <a:gd name="connsiteY11" fmla="*/ 48816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2400" h="238125">
                  <a:moveTo>
                    <a:pt x="130483" y="48816"/>
                  </a:moveTo>
                  <a:cubicBezTo>
                    <a:pt x="121491" y="42939"/>
                    <a:pt x="112424" y="39995"/>
                    <a:pt x="103299" y="39995"/>
                  </a:cubicBezTo>
                  <a:cubicBezTo>
                    <a:pt x="88649" y="39995"/>
                    <a:pt x="75848" y="46358"/>
                    <a:pt x="64903" y="59083"/>
                  </a:cubicBezTo>
                  <a:cubicBezTo>
                    <a:pt x="53950" y="71809"/>
                    <a:pt x="48473" y="87135"/>
                    <a:pt x="48473" y="105061"/>
                  </a:cubicBezTo>
                  <a:lnTo>
                    <a:pt x="48473" y="231105"/>
                  </a:lnTo>
                  <a:lnTo>
                    <a:pt x="7144" y="231105"/>
                  </a:lnTo>
                  <a:lnTo>
                    <a:pt x="7144" y="11249"/>
                  </a:lnTo>
                  <a:lnTo>
                    <a:pt x="48473" y="11249"/>
                  </a:lnTo>
                  <a:lnTo>
                    <a:pt x="48473" y="46358"/>
                  </a:lnTo>
                  <a:cubicBezTo>
                    <a:pt x="63551" y="20221"/>
                    <a:pt x="85963" y="7144"/>
                    <a:pt x="115691" y="7144"/>
                  </a:cubicBezTo>
                  <a:cubicBezTo>
                    <a:pt x="123082" y="7144"/>
                    <a:pt x="133750" y="8382"/>
                    <a:pt x="147666" y="10849"/>
                  </a:cubicBezTo>
                  <a:lnTo>
                    <a:pt x="130483" y="48816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695622D9-9E9E-414E-A056-7CD9D3F0C583}"/>
                </a:ext>
              </a:extLst>
            </p:cNvPr>
            <p:cNvSpPr/>
            <p:nvPr/>
          </p:nvSpPr>
          <p:spPr>
            <a:xfrm>
              <a:off x="2969488" y="3174813"/>
              <a:ext cx="209550" cy="238125"/>
            </a:xfrm>
            <a:custGeom>
              <a:avLst/>
              <a:gdLst>
                <a:gd name="connsiteX0" fmla="*/ 150705 w 209550"/>
                <a:gd name="connsiteY0" fmla="*/ 205873 h 238125"/>
                <a:gd name="connsiteX1" fmla="*/ 74790 w 209550"/>
                <a:gd name="connsiteY1" fmla="*/ 235229 h 238125"/>
                <a:gd name="connsiteX2" fmla="*/ 27261 w 209550"/>
                <a:gd name="connsiteY2" fmla="*/ 216446 h 238125"/>
                <a:gd name="connsiteX3" fmla="*/ 7144 w 209550"/>
                <a:gd name="connsiteY3" fmla="*/ 169745 h 238125"/>
                <a:gd name="connsiteX4" fmla="*/ 38138 w 209550"/>
                <a:gd name="connsiteY4" fmla="*/ 113186 h 238125"/>
                <a:gd name="connsiteX5" fmla="*/ 117205 w 209550"/>
                <a:gd name="connsiteY5" fmla="*/ 90088 h 238125"/>
                <a:gd name="connsiteX6" fmla="*/ 146790 w 209550"/>
                <a:gd name="connsiteY6" fmla="*/ 95431 h 238125"/>
                <a:gd name="connsiteX7" fmla="*/ 96326 w 209550"/>
                <a:gd name="connsiteY7" fmla="*/ 42053 h 238125"/>
                <a:gd name="connsiteX8" fmla="*/ 36728 w 209550"/>
                <a:gd name="connsiteY8" fmla="*/ 61760 h 238125"/>
                <a:gd name="connsiteX9" fmla="*/ 19326 w 209550"/>
                <a:gd name="connsiteY9" fmla="*/ 29118 h 238125"/>
                <a:gd name="connsiteX10" fmla="*/ 51845 w 209550"/>
                <a:gd name="connsiteY10" fmla="*/ 13621 h 238125"/>
                <a:gd name="connsiteX11" fmla="*/ 91545 w 209550"/>
                <a:gd name="connsiteY11" fmla="*/ 7144 h 238125"/>
                <a:gd name="connsiteX12" fmla="*/ 165173 w 209550"/>
                <a:gd name="connsiteY12" fmla="*/ 28908 h 238125"/>
                <a:gd name="connsiteX13" fmla="*/ 188128 w 209550"/>
                <a:gd name="connsiteY13" fmla="*/ 98088 h 238125"/>
                <a:gd name="connsiteX14" fmla="*/ 188128 w 209550"/>
                <a:gd name="connsiteY14" fmla="*/ 176917 h 238125"/>
                <a:gd name="connsiteX15" fmla="*/ 206397 w 209550"/>
                <a:gd name="connsiteY15" fmla="*/ 215513 h 238125"/>
                <a:gd name="connsiteX16" fmla="*/ 206397 w 209550"/>
                <a:gd name="connsiteY16" fmla="*/ 235010 h 238125"/>
                <a:gd name="connsiteX17" fmla="*/ 168659 w 209550"/>
                <a:gd name="connsiteY17" fmla="*/ 228238 h 238125"/>
                <a:gd name="connsiteX18" fmla="*/ 150705 w 209550"/>
                <a:gd name="connsiteY18" fmla="*/ 205873 h 238125"/>
                <a:gd name="connsiteX19" fmla="*/ 146790 w 209550"/>
                <a:gd name="connsiteY19" fmla="*/ 123149 h 238125"/>
                <a:gd name="connsiteX20" fmla="*/ 119386 w 209550"/>
                <a:gd name="connsiteY20" fmla="*/ 119034 h 238125"/>
                <a:gd name="connsiteX21" fmla="*/ 68266 w 209550"/>
                <a:gd name="connsiteY21" fmla="*/ 134226 h 238125"/>
                <a:gd name="connsiteX22" fmla="*/ 48473 w 209550"/>
                <a:gd name="connsiteY22" fmla="*/ 170145 h 238125"/>
                <a:gd name="connsiteX23" fmla="*/ 91326 w 209550"/>
                <a:gd name="connsiteY23" fmla="*/ 204435 h 238125"/>
                <a:gd name="connsiteX24" fmla="*/ 146799 w 209550"/>
                <a:gd name="connsiteY24" fmla="*/ 176317 h 238125"/>
                <a:gd name="connsiteX25" fmla="*/ 146799 w 209550"/>
                <a:gd name="connsiteY25" fmla="*/ 123149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9550" h="238125">
                  <a:moveTo>
                    <a:pt x="150705" y="205873"/>
                  </a:moveTo>
                  <a:cubicBezTo>
                    <a:pt x="134169" y="225457"/>
                    <a:pt x="108861" y="235229"/>
                    <a:pt x="74790" y="235229"/>
                  </a:cubicBezTo>
                  <a:cubicBezTo>
                    <a:pt x="56521" y="235229"/>
                    <a:pt x="40672" y="228971"/>
                    <a:pt x="27261" y="216446"/>
                  </a:cubicBezTo>
                  <a:cubicBezTo>
                    <a:pt x="13849" y="203921"/>
                    <a:pt x="7144" y="188357"/>
                    <a:pt x="7144" y="169745"/>
                  </a:cubicBezTo>
                  <a:cubicBezTo>
                    <a:pt x="7144" y="147438"/>
                    <a:pt x="17469" y="128588"/>
                    <a:pt x="38138" y="113186"/>
                  </a:cubicBezTo>
                  <a:cubicBezTo>
                    <a:pt x="58798" y="97793"/>
                    <a:pt x="85163" y="90088"/>
                    <a:pt x="117205" y="90088"/>
                  </a:cubicBezTo>
                  <a:cubicBezTo>
                    <a:pt x="125911" y="90088"/>
                    <a:pt x="135769" y="91878"/>
                    <a:pt x="146790" y="95431"/>
                  </a:cubicBezTo>
                  <a:cubicBezTo>
                    <a:pt x="146790" y="59855"/>
                    <a:pt x="129959" y="42053"/>
                    <a:pt x="96326" y="42053"/>
                  </a:cubicBezTo>
                  <a:cubicBezTo>
                    <a:pt x="70514" y="42053"/>
                    <a:pt x="50644" y="48616"/>
                    <a:pt x="36728" y="61760"/>
                  </a:cubicBezTo>
                  <a:lnTo>
                    <a:pt x="19326" y="29118"/>
                  </a:lnTo>
                  <a:cubicBezTo>
                    <a:pt x="27156" y="23098"/>
                    <a:pt x="37995" y="17926"/>
                    <a:pt x="51845" y="13621"/>
                  </a:cubicBezTo>
                  <a:cubicBezTo>
                    <a:pt x="65694" y="9306"/>
                    <a:pt x="78924" y="7144"/>
                    <a:pt x="91545" y="7144"/>
                  </a:cubicBezTo>
                  <a:cubicBezTo>
                    <a:pt x="125330" y="7144"/>
                    <a:pt x="149876" y="14402"/>
                    <a:pt x="165173" y="28908"/>
                  </a:cubicBezTo>
                  <a:cubicBezTo>
                    <a:pt x="180470" y="43405"/>
                    <a:pt x="188128" y="66465"/>
                    <a:pt x="188128" y="98088"/>
                  </a:cubicBezTo>
                  <a:lnTo>
                    <a:pt x="188128" y="176917"/>
                  </a:lnTo>
                  <a:cubicBezTo>
                    <a:pt x="188128" y="196205"/>
                    <a:pt x="194215" y="209074"/>
                    <a:pt x="206397" y="215513"/>
                  </a:cubicBezTo>
                  <a:lnTo>
                    <a:pt x="206397" y="235010"/>
                  </a:lnTo>
                  <a:cubicBezTo>
                    <a:pt x="189576" y="235010"/>
                    <a:pt x="176994" y="232762"/>
                    <a:pt x="168659" y="228238"/>
                  </a:cubicBezTo>
                  <a:cubicBezTo>
                    <a:pt x="160315" y="223742"/>
                    <a:pt x="154334" y="216275"/>
                    <a:pt x="150705" y="205873"/>
                  </a:cubicBezTo>
                  <a:close/>
                  <a:moveTo>
                    <a:pt x="146790" y="123149"/>
                  </a:moveTo>
                  <a:cubicBezTo>
                    <a:pt x="133741" y="120406"/>
                    <a:pt x="124596" y="119034"/>
                    <a:pt x="119386" y="119034"/>
                  </a:cubicBezTo>
                  <a:cubicBezTo>
                    <a:pt x="98508" y="119034"/>
                    <a:pt x="81458" y="124101"/>
                    <a:pt x="68266" y="134226"/>
                  </a:cubicBezTo>
                  <a:cubicBezTo>
                    <a:pt x="55074" y="144351"/>
                    <a:pt x="48473" y="156334"/>
                    <a:pt x="48473" y="170145"/>
                  </a:cubicBezTo>
                  <a:cubicBezTo>
                    <a:pt x="48473" y="193005"/>
                    <a:pt x="62760" y="204435"/>
                    <a:pt x="91326" y="204435"/>
                  </a:cubicBezTo>
                  <a:cubicBezTo>
                    <a:pt x="112204" y="204435"/>
                    <a:pt x="130702" y="195063"/>
                    <a:pt x="146799" y="176317"/>
                  </a:cubicBezTo>
                  <a:lnTo>
                    <a:pt x="146799" y="123149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970D16EF-D9B4-4D88-A6E8-4CEBB659FF08}"/>
                </a:ext>
              </a:extLst>
            </p:cNvPr>
            <p:cNvSpPr/>
            <p:nvPr/>
          </p:nvSpPr>
          <p:spPr>
            <a:xfrm>
              <a:off x="3206003" y="3117968"/>
              <a:ext cx="161925" cy="295275"/>
            </a:xfrm>
            <a:custGeom>
              <a:avLst/>
              <a:gdLst>
                <a:gd name="connsiteX0" fmla="*/ 34119 w 161925"/>
                <a:gd name="connsiteY0" fmla="*/ 98898 h 295275"/>
                <a:gd name="connsiteX1" fmla="*/ 7144 w 161925"/>
                <a:gd name="connsiteY1" fmla="*/ 98898 h 295275"/>
                <a:gd name="connsiteX2" fmla="*/ 7144 w 161925"/>
                <a:gd name="connsiteY2" fmla="*/ 68113 h 295275"/>
                <a:gd name="connsiteX3" fmla="*/ 34119 w 161925"/>
                <a:gd name="connsiteY3" fmla="*/ 68113 h 295275"/>
                <a:gd name="connsiteX4" fmla="*/ 34119 w 161925"/>
                <a:gd name="connsiteY4" fmla="*/ 22127 h 295275"/>
                <a:gd name="connsiteX5" fmla="*/ 75448 w 161925"/>
                <a:gd name="connsiteY5" fmla="*/ 7144 h 295275"/>
                <a:gd name="connsiteX6" fmla="*/ 75448 w 161925"/>
                <a:gd name="connsiteY6" fmla="*/ 68113 h 295275"/>
                <a:gd name="connsiteX7" fmla="*/ 139398 w 161925"/>
                <a:gd name="connsiteY7" fmla="*/ 68113 h 295275"/>
                <a:gd name="connsiteX8" fmla="*/ 139398 w 161925"/>
                <a:gd name="connsiteY8" fmla="*/ 98898 h 295275"/>
                <a:gd name="connsiteX9" fmla="*/ 75448 w 161925"/>
                <a:gd name="connsiteY9" fmla="*/ 98898 h 295275"/>
                <a:gd name="connsiteX10" fmla="*/ 75448 w 161925"/>
                <a:gd name="connsiteY10" fmla="*/ 208112 h 295275"/>
                <a:gd name="connsiteX11" fmla="*/ 85344 w 161925"/>
                <a:gd name="connsiteY11" fmla="*/ 247526 h 295275"/>
                <a:gd name="connsiteX12" fmla="*/ 117215 w 161925"/>
                <a:gd name="connsiteY12" fmla="*/ 259232 h 295275"/>
                <a:gd name="connsiteX13" fmla="*/ 150066 w 161925"/>
                <a:gd name="connsiteY13" fmla="*/ 251641 h 295275"/>
                <a:gd name="connsiteX14" fmla="*/ 156153 w 161925"/>
                <a:gd name="connsiteY14" fmla="*/ 285922 h 295275"/>
                <a:gd name="connsiteX15" fmla="*/ 99813 w 161925"/>
                <a:gd name="connsiteY15" fmla="*/ 292075 h 295275"/>
                <a:gd name="connsiteX16" fmla="*/ 53150 w 161925"/>
                <a:gd name="connsiteY16" fmla="*/ 272682 h 295275"/>
                <a:gd name="connsiteX17" fmla="*/ 34119 w 161925"/>
                <a:gd name="connsiteY17" fmla="*/ 223714 h 295275"/>
                <a:gd name="connsiteX18" fmla="*/ 34119 w 161925"/>
                <a:gd name="connsiteY18" fmla="*/ 98898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295275">
                  <a:moveTo>
                    <a:pt x="34119" y="98898"/>
                  </a:moveTo>
                  <a:lnTo>
                    <a:pt x="7144" y="98898"/>
                  </a:lnTo>
                  <a:lnTo>
                    <a:pt x="7144" y="68113"/>
                  </a:lnTo>
                  <a:lnTo>
                    <a:pt x="34119" y="68113"/>
                  </a:lnTo>
                  <a:lnTo>
                    <a:pt x="34119" y="22127"/>
                  </a:lnTo>
                  <a:lnTo>
                    <a:pt x="75448" y="7144"/>
                  </a:lnTo>
                  <a:lnTo>
                    <a:pt x="75448" y="68113"/>
                  </a:lnTo>
                  <a:lnTo>
                    <a:pt x="139398" y="68113"/>
                  </a:lnTo>
                  <a:lnTo>
                    <a:pt x="139398" y="98898"/>
                  </a:lnTo>
                  <a:lnTo>
                    <a:pt x="75448" y="98898"/>
                  </a:lnTo>
                  <a:lnTo>
                    <a:pt x="75448" y="208112"/>
                  </a:lnTo>
                  <a:cubicBezTo>
                    <a:pt x="75448" y="226581"/>
                    <a:pt x="78743" y="239725"/>
                    <a:pt x="85344" y="247526"/>
                  </a:cubicBezTo>
                  <a:cubicBezTo>
                    <a:pt x="91945" y="255327"/>
                    <a:pt x="102565" y="259232"/>
                    <a:pt x="117215" y="259232"/>
                  </a:cubicBezTo>
                  <a:cubicBezTo>
                    <a:pt x="127797" y="259232"/>
                    <a:pt x="138751" y="256699"/>
                    <a:pt x="150066" y="251641"/>
                  </a:cubicBezTo>
                  <a:lnTo>
                    <a:pt x="156153" y="285922"/>
                  </a:lnTo>
                  <a:cubicBezTo>
                    <a:pt x="139046" y="290036"/>
                    <a:pt x="120263" y="292075"/>
                    <a:pt x="99813" y="292075"/>
                  </a:cubicBezTo>
                  <a:cubicBezTo>
                    <a:pt x="81391" y="292075"/>
                    <a:pt x="65837" y="285607"/>
                    <a:pt x="53150" y="272682"/>
                  </a:cubicBezTo>
                  <a:cubicBezTo>
                    <a:pt x="40453" y="259747"/>
                    <a:pt x="34119" y="243430"/>
                    <a:pt x="34119" y="223714"/>
                  </a:cubicBezTo>
                  <a:lnTo>
                    <a:pt x="34119" y="98898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0088C9EB-9E6B-416E-ABFF-62BA6C295208}"/>
                </a:ext>
              </a:extLst>
            </p:cNvPr>
            <p:cNvSpPr/>
            <p:nvPr/>
          </p:nvSpPr>
          <p:spPr>
            <a:xfrm>
              <a:off x="3382273" y="3174823"/>
              <a:ext cx="228600" cy="238125"/>
            </a:xfrm>
            <a:custGeom>
              <a:avLst/>
              <a:gdLst>
                <a:gd name="connsiteX0" fmla="*/ 218570 w 228600"/>
                <a:gd name="connsiteY0" fmla="*/ 124977 h 238125"/>
                <a:gd name="connsiteX1" fmla="*/ 50635 w 228600"/>
                <a:gd name="connsiteY1" fmla="*/ 124977 h 238125"/>
                <a:gd name="connsiteX2" fmla="*/ 73047 w 228600"/>
                <a:gd name="connsiteY2" fmla="*/ 184309 h 238125"/>
                <a:gd name="connsiteX3" fmla="*/ 123949 w 228600"/>
                <a:gd name="connsiteY3" fmla="*/ 202368 h 238125"/>
                <a:gd name="connsiteX4" fmla="*/ 183118 w 228600"/>
                <a:gd name="connsiteY4" fmla="*/ 182870 h 238125"/>
                <a:gd name="connsiteX5" fmla="*/ 200520 w 228600"/>
                <a:gd name="connsiteY5" fmla="*/ 210988 h 238125"/>
                <a:gd name="connsiteX6" fmla="*/ 171155 w 228600"/>
                <a:gd name="connsiteY6" fmla="*/ 226590 h 238125"/>
                <a:gd name="connsiteX7" fmla="*/ 115900 w 228600"/>
                <a:gd name="connsiteY7" fmla="*/ 235210 h 238125"/>
                <a:gd name="connsiteX8" fmla="*/ 41291 w 228600"/>
                <a:gd name="connsiteY8" fmla="*/ 207092 h 238125"/>
                <a:gd name="connsiteX9" fmla="*/ 7144 w 228600"/>
                <a:gd name="connsiteY9" fmla="*/ 123749 h 238125"/>
                <a:gd name="connsiteX10" fmla="*/ 42167 w 228600"/>
                <a:gd name="connsiteY10" fmla="*/ 36500 h 238125"/>
                <a:gd name="connsiteX11" fmla="*/ 116348 w 228600"/>
                <a:gd name="connsiteY11" fmla="*/ 7144 h 238125"/>
                <a:gd name="connsiteX12" fmla="*/ 194443 w 228600"/>
                <a:gd name="connsiteY12" fmla="*/ 33623 h 238125"/>
                <a:gd name="connsiteX13" fmla="*/ 221856 w 228600"/>
                <a:gd name="connsiteY13" fmla="*/ 101165 h 238125"/>
                <a:gd name="connsiteX14" fmla="*/ 218570 w 228600"/>
                <a:gd name="connsiteY14" fmla="*/ 124977 h 238125"/>
                <a:gd name="connsiteX15" fmla="*/ 118281 w 228600"/>
                <a:gd name="connsiteY15" fmla="*/ 39995 h 238125"/>
                <a:gd name="connsiteX16" fmla="*/ 71952 w 228600"/>
                <a:gd name="connsiteY16" fmla="*/ 56826 h 238125"/>
                <a:gd name="connsiteX17" fmla="*/ 51721 w 228600"/>
                <a:gd name="connsiteY17" fmla="*/ 96660 h 238125"/>
                <a:gd name="connsiteX18" fmla="*/ 180718 w 228600"/>
                <a:gd name="connsiteY18" fmla="*/ 96660 h 238125"/>
                <a:gd name="connsiteX19" fmla="*/ 165049 w 228600"/>
                <a:gd name="connsiteY19" fmla="*/ 57236 h 238125"/>
                <a:gd name="connsiteX20" fmla="*/ 118281 w 228600"/>
                <a:gd name="connsiteY20" fmla="*/ 3999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8600" h="238125">
                  <a:moveTo>
                    <a:pt x="218570" y="124977"/>
                  </a:moveTo>
                  <a:lnTo>
                    <a:pt x="50635" y="124977"/>
                  </a:lnTo>
                  <a:cubicBezTo>
                    <a:pt x="50635" y="150704"/>
                    <a:pt x="58102" y="170478"/>
                    <a:pt x="73047" y="184309"/>
                  </a:cubicBezTo>
                  <a:cubicBezTo>
                    <a:pt x="86239" y="196358"/>
                    <a:pt x="103213" y="202368"/>
                    <a:pt x="123949" y="202368"/>
                  </a:cubicBezTo>
                  <a:cubicBezTo>
                    <a:pt x="147580" y="202368"/>
                    <a:pt x="167307" y="195872"/>
                    <a:pt x="183118" y="182870"/>
                  </a:cubicBezTo>
                  <a:lnTo>
                    <a:pt x="200520" y="210988"/>
                  </a:lnTo>
                  <a:cubicBezTo>
                    <a:pt x="194139" y="217018"/>
                    <a:pt x="184347" y="222218"/>
                    <a:pt x="171155" y="226590"/>
                  </a:cubicBezTo>
                  <a:cubicBezTo>
                    <a:pt x="154619" y="232343"/>
                    <a:pt x="136208" y="235210"/>
                    <a:pt x="115900" y="235210"/>
                  </a:cubicBezTo>
                  <a:cubicBezTo>
                    <a:pt x="86601" y="235210"/>
                    <a:pt x="61732" y="225847"/>
                    <a:pt x="41291" y="207092"/>
                  </a:cubicBezTo>
                  <a:cubicBezTo>
                    <a:pt x="18526" y="186423"/>
                    <a:pt x="7144" y="158648"/>
                    <a:pt x="7144" y="123749"/>
                  </a:cubicBezTo>
                  <a:cubicBezTo>
                    <a:pt x="7144" y="87478"/>
                    <a:pt x="18821" y="58398"/>
                    <a:pt x="42167" y="36500"/>
                  </a:cubicBezTo>
                  <a:cubicBezTo>
                    <a:pt x="63046" y="16935"/>
                    <a:pt x="87773" y="7144"/>
                    <a:pt x="116348" y="7144"/>
                  </a:cubicBezTo>
                  <a:cubicBezTo>
                    <a:pt x="149552" y="7144"/>
                    <a:pt x="175593" y="15973"/>
                    <a:pt x="194443" y="33623"/>
                  </a:cubicBezTo>
                  <a:cubicBezTo>
                    <a:pt x="212712" y="50597"/>
                    <a:pt x="221856" y="73114"/>
                    <a:pt x="221856" y="101165"/>
                  </a:cubicBezTo>
                  <a:cubicBezTo>
                    <a:pt x="221828" y="109795"/>
                    <a:pt x="220742" y="117738"/>
                    <a:pt x="218570" y="124977"/>
                  </a:cubicBezTo>
                  <a:close/>
                  <a:moveTo>
                    <a:pt x="118281" y="39995"/>
                  </a:moveTo>
                  <a:cubicBezTo>
                    <a:pt x="99860" y="39995"/>
                    <a:pt x="84420" y="45606"/>
                    <a:pt x="71952" y="56826"/>
                  </a:cubicBezTo>
                  <a:cubicBezTo>
                    <a:pt x="60055" y="67504"/>
                    <a:pt x="53311" y="80781"/>
                    <a:pt x="51721" y="96660"/>
                  </a:cubicBezTo>
                  <a:lnTo>
                    <a:pt x="180718" y="96660"/>
                  </a:lnTo>
                  <a:cubicBezTo>
                    <a:pt x="180718" y="80924"/>
                    <a:pt x="175498" y="67780"/>
                    <a:pt x="165049" y="57236"/>
                  </a:cubicBezTo>
                  <a:cubicBezTo>
                    <a:pt x="153600" y="45739"/>
                    <a:pt x="138008" y="39995"/>
                    <a:pt x="118281" y="39995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CE3C6A7F-D624-4C99-B527-CEE05BB1F729}"/>
                </a:ext>
              </a:extLst>
            </p:cNvPr>
            <p:cNvSpPr/>
            <p:nvPr/>
          </p:nvSpPr>
          <p:spPr>
            <a:xfrm>
              <a:off x="3631171" y="3164774"/>
              <a:ext cx="200025" cy="333375"/>
            </a:xfrm>
            <a:custGeom>
              <a:avLst/>
              <a:gdLst>
                <a:gd name="connsiteX0" fmla="*/ 10620 w 200025"/>
                <a:gd name="connsiteY0" fmla="*/ 301304 h 333375"/>
                <a:gd name="connsiteX1" fmla="*/ 33033 w 200025"/>
                <a:gd name="connsiteY1" fmla="*/ 270110 h 333375"/>
                <a:gd name="connsiteX2" fmla="*/ 99593 w 200025"/>
                <a:gd name="connsiteY2" fmla="*/ 292894 h 333375"/>
                <a:gd name="connsiteX3" fmla="*/ 143856 w 200025"/>
                <a:gd name="connsiteY3" fmla="*/ 283759 h 333375"/>
                <a:gd name="connsiteX4" fmla="*/ 160058 w 200025"/>
                <a:gd name="connsiteY4" fmla="*/ 261080 h 333375"/>
                <a:gd name="connsiteX5" fmla="*/ 119167 w 200025"/>
                <a:gd name="connsiteY5" fmla="*/ 234391 h 333375"/>
                <a:gd name="connsiteX6" fmla="*/ 93936 w 200025"/>
                <a:gd name="connsiteY6" fmla="*/ 237677 h 333375"/>
                <a:gd name="connsiteX7" fmla="*/ 65437 w 200025"/>
                <a:gd name="connsiteY7" fmla="*/ 240963 h 333375"/>
                <a:gd name="connsiteX8" fmla="*/ 15840 w 200025"/>
                <a:gd name="connsiteY8" fmla="*/ 205654 h 333375"/>
                <a:gd name="connsiteX9" fmla="*/ 27480 w 200025"/>
                <a:gd name="connsiteY9" fmla="*/ 185947 h 333375"/>
                <a:gd name="connsiteX10" fmla="*/ 56302 w 200025"/>
                <a:gd name="connsiteY10" fmla="*/ 173222 h 333375"/>
                <a:gd name="connsiteX11" fmla="*/ 7144 w 200025"/>
                <a:gd name="connsiteY11" fmla="*/ 97679 h 333375"/>
                <a:gd name="connsiteX12" fmla="*/ 32595 w 200025"/>
                <a:gd name="connsiteY12" fmla="*/ 40196 h 333375"/>
                <a:gd name="connsiteX13" fmla="*/ 95460 w 200025"/>
                <a:gd name="connsiteY13" fmla="*/ 17202 h 333375"/>
                <a:gd name="connsiteX14" fmla="*/ 149190 w 200025"/>
                <a:gd name="connsiteY14" fmla="*/ 30547 h 333375"/>
                <a:gd name="connsiteX15" fmla="*/ 169859 w 200025"/>
                <a:gd name="connsiteY15" fmla="*/ 7144 h 333375"/>
                <a:gd name="connsiteX16" fmla="*/ 196834 w 200025"/>
                <a:gd name="connsiteY16" fmla="*/ 31156 h 333375"/>
                <a:gd name="connsiteX17" fmla="*/ 172031 w 200025"/>
                <a:gd name="connsiteY17" fmla="*/ 48816 h 333375"/>
                <a:gd name="connsiteX18" fmla="*/ 187909 w 200025"/>
                <a:gd name="connsiteY18" fmla="*/ 99727 h 333375"/>
                <a:gd name="connsiteX19" fmla="*/ 165935 w 200025"/>
                <a:gd name="connsiteY19" fmla="*/ 155562 h 333375"/>
                <a:gd name="connsiteX20" fmla="*/ 108290 w 200025"/>
                <a:gd name="connsiteY20" fmla="*/ 181432 h 333375"/>
                <a:gd name="connsiteX21" fmla="*/ 74143 w 200025"/>
                <a:gd name="connsiteY21" fmla="*/ 184718 h 333375"/>
                <a:gd name="connsiteX22" fmla="*/ 57826 w 200025"/>
                <a:gd name="connsiteY22" fmla="*/ 189128 h 333375"/>
                <a:gd name="connsiteX23" fmla="*/ 47606 w 200025"/>
                <a:gd name="connsiteY23" fmla="*/ 199092 h 333375"/>
                <a:gd name="connsiteX24" fmla="*/ 68923 w 200025"/>
                <a:gd name="connsiteY24" fmla="*/ 207512 h 333375"/>
                <a:gd name="connsiteX25" fmla="*/ 98069 w 200025"/>
                <a:gd name="connsiteY25" fmla="*/ 204330 h 333375"/>
                <a:gd name="connsiteX26" fmla="*/ 127435 w 200025"/>
                <a:gd name="connsiteY26" fmla="*/ 201139 h 333375"/>
                <a:gd name="connsiteX27" fmla="*/ 181051 w 200025"/>
                <a:gd name="connsiteY27" fmla="*/ 216646 h 333375"/>
                <a:gd name="connsiteX28" fmla="*/ 200301 w 200025"/>
                <a:gd name="connsiteY28" fmla="*/ 259651 h 333375"/>
                <a:gd name="connsiteX29" fmla="*/ 171479 w 200025"/>
                <a:gd name="connsiteY29" fmla="*/ 308715 h 333375"/>
                <a:gd name="connsiteX30" fmla="*/ 98498 w 200025"/>
                <a:gd name="connsiteY30" fmla="*/ 327393 h 333375"/>
                <a:gd name="connsiteX31" fmla="*/ 50863 w 200025"/>
                <a:gd name="connsiteY31" fmla="*/ 319802 h 333375"/>
                <a:gd name="connsiteX32" fmla="*/ 10620 w 200025"/>
                <a:gd name="connsiteY32" fmla="*/ 301304 h 333375"/>
                <a:gd name="connsiteX33" fmla="*/ 98288 w 200025"/>
                <a:gd name="connsiteY33" fmla="*/ 48606 h 333375"/>
                <a:gd name="connsiteX34" fmla="*/ 63160 w 200025"/>
                <a:gd name="connsiteY34" fmla="*/ 62979 h 333375"/>
                <a:gd name="connsiteX35" fmla="*/ 49568 w 200025"/>
                <a:gd name="connsiteY35" fmla="*/ 97879 h 333375"/>
                <a:gd name="connsiteX36" fmla="*/ 62732 w 200025"/>
                <a:gd name="connsiteY36" fmla="*/ 135950 h 333375"/>
                <a:gd name="connsiteX37" fmla="*/ 98298 w 200025"/>
                <a:gd name="connsiteY37" fmla="*/ 151047 h 333375"/>
                <a:gd name="connsiteX38" fmla="*/ 132664 w 200025"/>
                <a:gd name="connsiteY38" fmla="*/ 136369 h 333375"/>
                <a:gd name="connsiteX39" fmla="*/ 145066 w 200025"/>
                <a:gd name="connsiteY39" fmla="*/ 97879 h 333375"/>
                <a:gd name="connsiteX40" fmla="*/ 131683 w 200025"/>
                <a:gd name="connsiteY40" fmla="*/ 62979 h 333375"/>
                <a:gd name="connsiteX41" fmla="*/ 98288 w 200025"/>
                <a:gd name="connsiteY41" fmla="*/ 48606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0025" h="333375">
                  <a:moveTo>
                    <a:pt x="10620" y="301304"/>
                  </a:moveTo>
                  <a:lnTo>
                    <a:pt x="33033" y="270110"/>
                  </a:lnTo>
                  <a:cubicBezTo>
                    <a:pt x="57102" y="285302"/>
                    <a:pt x="79286" y="292894"/>
                    <a:pt x="99593" y="292894"/>
                  </a:cubicBezTo>
                  <a:cubicBezTo>
                    <a:pt x="118300" y="292894"/>
                    <a:pt x="133055" y="289855"/>
                    <a:pt x="143856" y="283759"/>
                  </a:cubicBezTo>
                  <a:cubicBezTo>
                    <a:pt x="154657" y="277673"/>
                    <a:pt x="160058" y="270110"/>
                    <a:pt x="160058" y="261080"/>
                  </a:cubicBezTo>
                  <a:cubicBezTo>
                    <a:pt x="160058" y="243288"/>
                    <a:pt x="146428" y="234391"/>
                    <a:pt x="119167" y="234391"/>
                  </a:cubicBezTo>
                  <a:cubicBezTo>
                    <a:pt x="114529" y="234391"/>
                    <a:pt x="106118" y="235487"/>
                    <a:pt x="93936" y="237677"/>
                  </a:cubicBezTo>
                  <a:cubicBezTo>
                    <a:pt x="81753" y="239859"/>
                    <a:pt x="72257" y="240963"/>
                    <a:pt x="65437" y="240963"/>
                  </a:cubicBezTo>
                  <a:cubicBezTo>
                    <a:pt x="32375" y="240963"/>
                    <a:pt x="15840" y="229200"/>
                    <a:pt x="15840" y="205654"/>
                  </a:cubicBezTo>
                  <a:cubicBezTo>
                    <a:pt x="15840" y="198396"/>
                    <a:pt x="19717" y="191834"/>
                    <a:pt x="27480" y="185947"/>
                  </a:cubicBezTo>
                  <a:cubicBezTo>
                    <a:pt x="35233" y="180070"/>
                    <a:pt x="44844" y="175822"/>
                    <a:pt x="56302" y="173222"/>
                  </a:cubicBezTo>
                  <a:cubicBezTo>
                    <a:pt x="23527" y="158725"/>
                    <a:pt x="7144" y="133531"/>
                    <a:pt x="7144" y="97679"/>
                  </a:cubicBezTo>
                  <a:cubicBezTo>
                    <a:pt x="7144" y="74686"/>
                    <a:pt x="15631" y="55521"/>
                    <a:pt x="32595" y="40196"/>
                  </a:cubicBezTo>
                  <a:cubicBezTo>
                    <a:pt x="49559" y="24879"/>
                    <a:pt x="70514" y="17202"/>
                    <a:pt x="95460" y="17202"/>
                  </a:cubicBezTo>
                  <a:cubicBezTo>
                    <a:pt x="118367" y="17202"/>
                    <a:pt x="136284" y="21660"/>
                    <a:pt x="149190" y="30547"/>
                  </a:cubicBezTo>
                  <a:lnTo>
                    <a:pt x="169859" y="7144"/>
                  </a:lnTo>
                  <a:lnTo>
                    <a:pt x="196834" y="31156"/>
                  </a:lnTo>
                  <a:lnTo>
                    <a:pt x="172031" y="48816"/>
                  </a:lnTo>
                  <a:cubicBezTo>
                    <a:pt x="182613" y="61817"/>
                    <a:pt x="187909" y="78781"/>
                    <a:pt x="187909" y="99727"/>
                  </a:cubicBezTo>
                  <a:cubicBezTo>
                    <a:pt x="187909" y="121901"/>
                    <a:pt x="180584" y="140513"/>
                    <a:pt x="165935" y="155562"/>
                  </a:cubicBezTo>
                  <a:cubicBezTo>
                    <a:pt x="151286" y="170621"/>
                    <a:pt x="132074" y="179242"/>
                    <a:pt x="108290" y="181432"/>
                  </a:cubicBezTo>
                  <a:lnTo>
                    <a:pt x="74143" y="184718"/>
                  </a:lnTo>
                  <a:cubicBezTo>
                    <a:pt x="70085" y="185128"/>
                    <a:pt x="64646" y="186595"/>
                    <a:pt x="57826" y="189128"/>
                  </a:cubicBezTo>
                  <a:cubicBezTo>
                    <a:pt x="51006" y="191672"/>
                    <a:pt x="47606" y="194977"/>
                    <a:pt x="47606" y="199092"/>
                  </a:cubicBezTo>
                  <a:cubicBezTo>
                    <a:pt x="47606" y="204702"/>
                    <a:pt x="54712" y="207512"/>
                    <a:pt x="68923" y="207512"/>
                  </a:cubicBezTo>
                  <a:cubicBezTo>
                    <a:pt x="75152" y="207512"/>
                    <a:pt x="84868" y="206454"/>
                    <a:pt x="98069" y="204330"/>
                  </a:cubicBezTo>
                  <a:cubicBezTo>
                    <a:pt x="111262" y="202206"/>
                    <a:pt x="121053" y="201139"/>
                    <a:pt x="127435" y="201139"/>
                  </a:cubicBezTo>
                  <a:cubicBezTo>
                    <a:pt x="150352" y="201139"/>
                    <a:pt x="168221" y="206312"/>
                    <a:pt x="181051" y="216646"/>
                  </a:cubicBezTo>
                  <a:cubicBezTo>
                    <a:pt x="193891" y="226981"/>
                    <a:pt x="200301" y="241306"/>
                    <a:pt x="200301" y="259651"/>
                  </a:cubicBezTo>
                  <a:cubicBezTo>
                    <a:pt x="200301" y="279911"/>
                    <a:pt x="190691" y="296266"/>
                    <a:pt x="171479" y="308715"/>
                  </a:cubicBezTo>
                  <a:cubicBezTo>
                    <a:pt x="152257" y="321164"/>
                    <a:pt x="127930" y="327393"/>
                    <a:pt x="98498" y="327393"/>
                  </a:cubicBezTo>
                  <a:cubicBezTo>
                    <a:pt x="83410" y="327393"/>
                    <a:pt x="67532" y="324860"/>
                    <a:pt x="50863" y="319802"/>
                  </a:cubicBezTo>
                  <a:cubicBezTo>
                    <a:pt x="34195" y="314725"/>
                    <a:pt x="20774" y="308562"/>
                    <a:pt x="10620" y="301304"/>
                  </a:cubicBezTo>
                  <a:close/>
                  <a:moveTo>
                    <a:pt x="98288" y="48606"/>
                  </a:moveTo>
                  <a:cubicBezTo>
                    <a:pt x="83934" y="48606"/>
                    <a:pt x="72219" y="53397"/>
                    <a:pt x="63160" y="62979"/>
                  </a:cubicBezTo>
                  <a:cubicBezTo>
                    <a:pt x="54102" y="72561"/>
                    <a:pt x="49568" y="84201"/>
                    <a:pt x="49568" y="97879"/>
                  </a:cubicBezTo>
                  <a:cubicBezTo>
                    <a:pt x="49568" y="113205"/>
                    <a:pt x="53950" y="125892"/>
                    <a:pt x="62732" y="135950"/>
                  </a:cubicBezTo>
                  <a:cubicBezTo>
                    <a:pt x="71504" y="146018"/>
                    <a:pt x="83363" y="151047"/>
                    <a:pt x="98298" y="151047"/>
                  </a:cubicBezTo>
                  <a:cubicBezTo>
                    <a:pt x="112947" y="151047"/>
                    <a:pt x="124406" y="146152"/>
                    <a:pt x="132664" y="136369"/>
                  </a:cubicBezTo>
                  <a:cubicBezTo>
                    <a:pt x="140922" y="126587"/>
                    <a:pt x="145066" y="113757"/>
                    <a:pt x="145066" y="97879"/>
                  </a:cubicBezTo>
                  <a:cubicBezTo>
                    <a:pt x="145066" y="84192"/>
                    <a:pt x="140608" y="72561"/>
                    <a:pt x="131683" y="62979"/>
                  </a:cubicBezTo>
                  <a:cubicBezTo>
                    <a:pt x="122758" y="53397"/>
                    <a:pt x="111624" y="48606"/>
                    <a:pt x="98288" y="48606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1E14469A-0A42-473C-A845-2C5060E8893E}"/>
                </a:ext>
              </a:extLst>
            </p:cNvPr>
            <p:cNvSpPr/>
            <p:nvPr/>
          </p:nvSpPr>
          <p:spPr>
            <a:xfrm>
              <a:off x="3842673" y="3178937"/>
              <a:ext cx="228600" cy="314325"/>
            </a:xfrm>
            <a:custGeom>
              <a:avLst/>
              <a:gdLst>
                <a:gd name="connsiteX0" fmla="*/ 122872 w 228600"/>
                <a:gd name="connsiteY0" fmla="*/ 264366 h 314325"/>
                <a:gd name="connsiteX1" fmla="*/ 89049 w 228600"/>
                <a:gd name="connsiteY1" fmla="*/ 299256 h 314325"/>
                <a:gd name="connsiteX2" fmla="*/ 31509 w 228600"/>
                <a:gd name="connsiteY2" fmla="*/ 313220 h 314325"/>
                <a:gd name="connsiteX3" fmla="*/ 31509 w 228600"/>
                <a:gd name="connsiteY3" fmla="*/ 278321 h 314325"/>
                <a:gd name="connsiteX4" fmla="*/ 75886 w 228600"/>
                <a:gd name="connsiteY4" fmla="*/ 266929 h 314325"/>
                <a:gd name="connsiteX5" fmla="*/ 94374 w 228600"/>
                <a:gd name="connsiteY5" fmla="*/ 239116 h 314325"/>
                <a:gd name="connsiteX6" fmla="*/ 87630 w 228600"/>
                <a:gd name="connsiteY6" fmla="*/ 203502 h 314325"/>
                <a:gd name="connsiteX7" fmla="*/ 70228 w 228600"/>
                <a:gd name="connsiteY7" fmla="*/ 160077 h 314325"/>
                <a:gd name="connsiteX8" fmla="*/ 7144 w 228600"/>
                <a:gd name="connsiteY8" fmla="*/ 7144 h 314325"/>
                <a:gd name="connsiteX9" fmla="*/ 49349 w 228600"/>
                <a:gd name="connsiteY9" fmla="*/ 7144 h 314325"/>
                <a:gd name="connsiteX10" fmla="*/ 117872 w 228600"/>
                <a:gd name="connsiteY10" fmla="*/ 177117 h 314325"/>
                <a:gd name="connsiteX11" fmla="*/ 179432 w 228600"/>
                <a:gd name="connsiteY11" fmla="*/ 7144 h 314325"/>
                <a:gd name="connsiteX12" fmla="*/ 221637 w 228600"/>
                <a:gd name="connsiteY12" fmla="*/ 7144 h 314325"/>
                <a:gd name="connsiteX13" fmla="*/ 122872 w 228600"/>
                <a:gd name="connsiteY13" fmla="*/ 264366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8600" h="314325">
                  <a:moveTo>
                    <a:pt x="122872" y="264366"/>
                  </a:moveTo>
                  <a:cubicBezTo>
                    <a:pt x="117510" y="278321"/>
                    <a:pt x="106232" y="289960"/>
                    <a:pt x="89049" y="299256"/>
                  </a:cubicBezTo>
                  <a:cubicBezTo>
                    <a:pt x="71866" y="308572"/>
                    <a:pt x="52683" y="313220"/>
                    <a:pt x="31509" y="313220"/>
                  </a:cubicBezTo>
                  <a:lnTo>
                    <a:pt x="31509" y="278321"/>
                  </a:lnTo>
                  <a:cubicBezTo>
                    <a:pt x="48768" y="278321"/>
                    <a:pt x="63551" y="274530"/>
                    <a:pt x="75886" y="266929"/>
                  </a:cubicBezTo>
                  <a:cubicBezTo>
                    <a:pt x="88211" y="259337"/>
                    <a:pt x="94374" y="250060"/>
                    <a:pt x="94374" y="239116"/>
                  </a:cubicBezTo>
                  <a:cubicBezTo>
                    <a:pt x="94374" y="227067"/>
                    <a:pt x="92126" y="215198"/>
                    <a:pt x="87630" y="203502"/>
                  </a:cubicBezTo>
                  <a:cubicBezTo>
                    <a:pt x="83134" y="191795"/>
                    <a:pt x="77324" y="177327"/>
                    <a:pt x="70228" y="160077"/>
                  </a:cubicBezTo>
                  <a:lnTo>
                    <a:pt x="7144" y="7144"/>
                  </a:lnTo>
                  <a:lnTo>
                    <a:pt x="49349" y="7144"/>
                  </a:lnTo>
                  <a:lnTo>
                    <a:pt x="117872" y="177117"/>
                  </a:lnTo>
                  <a:lnTo>
                    <a:pt x="179432" y="7144"/>
                  </a:lnTo>
                  <a:lnTo>
                    <a:pt x="221637" y="7144"/>
                  </a:lnTo>
                  <a:lnTo>
                    <a:pt x="122872" y="264366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C9B6E955-AEBE-40D3-BC7E-79665DFC7F41}"/>
                </a:ext>
              </a:extLst>
            </p:cNvPr>
            <p:cNvSpPr/>
            <p:nvPr/>
          </p:nvSpPr>
          <p:spPr>
            <a:xfrm>
              <a:off x="4216730" y="3175851"/>
              <a:ext cx="209550" cy="238125"/>
            </a:xfrm>
            <a:custGeom>
              <a:avLst/>
              <a:gdLst>
                <a:gd name="connsiteX0" fmla="*/ 169859 w 209550"/>
                <a:gd name="connsiteY0" fmla="*/ 150228 h 238125"/>
                <a:gd name="connsiteX1" fmla="*/ 208359 w 209550"/>
                <a:gd name="connsiteY1" fmla="*/ 154953 h 238125"/>
                <a:gd name="connsiteX2" fmla="*/ 176051 w 209550"/>
                <a:gd name="connsiteY2" fmla="*/ 213760 h 238125"/>
                <a:gd name="connsiteX3" fmla="*/ 112204 w 209550"/>
                <a:gd name="connsiteY3" fmla="*/ 235010 h 238125"/>
                <a:gd name="connsiteX4" fmla="*/ 35966 w 209550"/>
                <a:gd name="connsiteY4" fmla="*/ 205759 h 238125"/>
                <a:gd name="connsiteX5" fmla="*/ 7144 w 209550"/>
                <a:gd name="connsiteY5" fmla="*/ 121892 h 238125"/>
                <a:gd name="connsiteX6" fmla="*/ 19545 w 209550"/>
                <a:gd name="connsiteY6" fmla="*/ 60112 h 238125"/>
                <a:gd name="connsiteX7" fmla="*/ 57283 w 209550"/>
                <a:gd name="connsiteY7" fmla="*/ 20383 h 238125"/>
                <a:gd name="connsiteX8" fmla="*/ 112424 w 209550"/>
                <a:gd name="connsiteY8" fmla="*/ 7144 h 238125"/>
                <a:gd name="connsiteX9" fmla="*/ 173984 w 209550"/>
                <a:gd name="connsiteY9" fmla="*/ 25108 h 238125"/>
                <a:gd name="connsiteX10" fmla="*/ 204654 w 209550"/>
                <a:gd name="connsiteY10" fmla="*/ 76114 h 238125"/>
                <a:gd name="connsiteX11" fmla="*/ 166583 w 209550"/>
                <a:gd name="connsiteY11" fmla="*/ 81658 h 238125"/>
                <a:gd name="connsiteX12" fmla="*/ 147333 w 209550"/>
                <a:gd name="connsiteY12" fmla="*/ 48606 h 238125"/>
                <a:gd name="connsiteX13" fmla="*/ 113938 w 209550"/>
                <a:gd name="connsiteY13" fmla="*/ 37519 h 238125"/>
                <a:gd name="connsiteX14" fmla="*/ 65865 w 209550"/>
                <a:gd name="connsiteY14" fmla="*/ 57541 h 238125"/>
                <a:gd name="connsiteX15" fmla="*/ 47377 w 209550"/>
                <a:gd name="connsiteY15" fmla="*/ 120863 h 238125"/>
                <a:gd name="connsiteX16" fmla="*/ 65218 w 209550"/>
                <a:gd name="connsiteY16" fmla="*/ 184709 h 238125"/>
                <a:gd name="connsiteX17" fmla="*/ 111766 w 209550"/>
                <a:gd name="connsiteY17" fmla="*/ 204616 h 238125"/>
                <a:gd name="connsiteX18" fmla="*/ 150266 w 209550"/>
                <a:gd name="connsiteY18" fmla="*/ 191281 h 238125"/>
                <a:gd name="connsiteX19" fmla="*/ 169859 w 209550"/>
                <a:gd name="connsiteY19" fmla="*/ 150228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9550" h="238125">
                  <a:moveTo>
                    <a:pt x="169859" y="150228"/>
                  </a:moveTo>
                  <a:lnTo>
                    <a:pt x="208359" y="154953"/>
                  </a:lnTo>
                  <a:cubicBezTo>
                    <a:pt x="204149" y="179994"/>
                    <a:pt x="193386" y="199606"/>
                    <a:pt x="176051" y="213760"/>
                  </a:cubicBezTo>
                  <a:cubicBezTo>
                    <a:pt x="158715" y="227924"/>
                    <a:pt x="137436" y="235010"/>
                    <a:pt x="112204" y="235010"/>
                  </a:cubicBezTo>
                  <a:cubicBezTo>
                    <a:pt x="80591" y="235010"/>
                    <a:pt x="55178" y="225257"/>
                    <a:pt x="35966" y="205759"/>
                  </a:cubicBezTo>
                  <a:cubicBezTo>
                    <a:pt x="16745" y="186252"/>
                    <a:pt x="7144" y="158306"/>
                    <a:pt x="7144" y="121892"/>
                  </a:cubicBezTo>
                  <a:cubicBezTo>
                    <a:pt x="7144" y="98355"/>
                    <a:pt x="11278" y="77762"/>
                    <a:pt x="19545" y="60112"/>
                  </a:cubicBezTo>
                  <a:cubicBezTo>
                    <a:pt x="27813" y="42453"/>
                    <a:pt x="40386" y="29213"/>
                    <a:pt x="57283" y="20383"/>
                  </a:cubicBezTo>
                  <a:cubicBezTo>
                    <a:pt x="74171" y="11554"/>
                    <a:pt x="92555" y="7144"/>
                    <a:pt x="112424" y="7144"/>
                  </a:cubicBezTo>
                  <a:cubicBezTo>
                    <a:pt x="137513" y="7144"/>
                    <a:pt x="158029" y="13135"/>
                    <a:pt x="173984" y="25108"/>
                  </a:cubicBezTo>
                  <a:cubicBezTo>
                    <a:pt x="189938" y="37081"/>
                    <a:pt x="200168" y="54083"/>
                    <a:pt x="204654" y="76114"/>
                  </a:cubicBezTo>
                  <a:lnTo>
                    <a:pt x="166583" y="81658"/>
                  </a:lnTo>
                  <a:cubicBezTo>
                    <a:pt x="162954" y="67018"/>
                    <a:pt x="156543" y="55998"/>
                    <a:pt x="147333" y="48606"/>
                  </a:cubicBezTo>
                  <a:cubicBezTo>
                    <a:pt x="138122" y="41215"/>
                    <a:pt x="126997" y="37519"/>
                    <a:pt x="113938" y="37519"/>
                  </a:cubicBezTo>
                  <a:cubicBezTo>
                    <a:pt x="94221" y="37519"/>
                    <a:pt x="78191" y="44187"/>
                    <a:pt x="65865" y="57541"/>
                  </a:cubicBezTo>
                  <a:cubicBezTo>
                    <a:pt x="53540" y="70876"/>
                    <a:pt x="47377" y="91992"/>
                    <a:pt x="47377" y="120863"/>
                  </a:cubicBezTo>
                  <a:cubicBezTo>
                    <a:pt x="47377" y="150152"/>
                    <a:pt x="53330" y="171441"/>
                    <a:pt x="65218" y="184709"/>
                  </a:cubicBezTo>
                  <a:cubicBezTo>
                    <a:pt x="77105" y="197987"/>
                    <a:pt x="92621" y="204616"/>
                    <a:pt x="111766" y="204616"/>
                  </a:cubicBezTo>
                  <a:cubicBezTo>
                    <a:pt x="127130" y="204616"/>
                    <a:pt x="139970" y="200168"/>
                    <a:pt x="150266" y="191281"/>
                  </a:cubicBezTo>
                  <a:cubicBezTo>
                    <a:pt x="160563" y="182394"/>
                    <a:pt x="167097" y="168707"/>
                    <a:pt x="169859" y="150228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BAB780A6-E153-405F-B146-EAAECEFA6ADD}"/>
                </a:ext>
              </a:extLst>
            </p:cNvPr>
            <p:cNvSpPr/>
            <p:nvPr/>
          </p:nvSpPr>
          <p:spPr>
            <a:xfrm>
              <a:off x="4439539" y="3175861"/>
              <a:ext cx="228600" cy="238125"/>
            </a:xfrm>
            <a:custGeom>
              <a:avLst/>
              <a:gdLst>
                <a:gd name="connsiteX0" fmla="*/ 7144 w 228600"/>
                <a:gd name="connsiteY0" fmla="*/ 121072 h 238125"/>
                <a:gd name="connsiteX1" fmla="*/ 42815 w 228600"/>
                <a:gd name="connsiteY1" fmla="*/ 31366 h 238125"/>
                <a:gd name="connsiteX2" fmla="*/ 115472 w 228600"/>
                <a:gd name="connsiteY2" fmla="*/ 7144 h 238125"/>
                <a:gd name="connsiteX3" fmla="*/ 193348 w 228600"/>
                <a:gd name="connsiteY3" fmla="*/ 36605 h 238125"/>
                <a:gd name="connsiteX4" fmla="*/ 223590 w 228600"/>
                <a:gd name="connsiteY4" fmla="*/ 117996 h 238125"/>
                <a:gd name="connsiteX5" fmla="*/ 210217 w 228600"/>
                <a:gd name="connsiteY5" fmla="*/ 184204 h 238125"/>
                <a:gd name="connsiteX6" fmla="*/ 171279 w 228600"/>
                <a:gd name="connsiteY6" fmla="*/ 221666 h 238125"/>
                <a:gd name="connsiteX7" fmla="*/ 115481 w 228600"/>
                <a:gd name="connsiteY7" fmla="*/ 235010 h 238125"/>
                <a:gd name="connsiteX8" fmla="*/ 37071 w 228600"/>
                <a:gd name="connsiteY8" fmla="*/ 205654 h 238125"/>
                <a:gd name="connsiteX9" fmla="*/ 7144 w 228600"/>
                <a:gd name="connsiteY9" fmla="*/ 121072 h 238125"/>
                <a:gd name="connsiteX10" fmla="*/ 47387 w 228600"/>
                <a:gd name="connsiteY10" fmla="*/ 121072 h 238125"/>
                <a:gd name="connsiteX11" fmla="*/ 66742 w 228600"/>
                <a:gd name="connsiteY11" fmla="*/ 183785 h 238125"/>
                <a:gd name="connsiteX12" fmla="*/ 115462 w 228600"/>
                <a:gd name="connsiteY12" fmla="*/ 204626 h 238125"/>
                <a:gd name="connsiteX13" fmla="*/ 163973 w 228600"/>
                <a:gd name="connsiteY13" fmla="*/ 183690 h 238125"/>
                <a:gd name="connsiteX14" fmla="*/ 183337 w 228600"/>
                <a:gd name="connsiteY14" fmla="*/ 119853 h 238125"/>
                <a:gd name="connsiteX15" fmla="*/ 163868 w 228600"/>
                <a:gd name="connsiteY15" fmla="*/ 58569 h 238125"/>
                <a:gd name="connsiteX16" fmla="*/ 115462 w 228600"/>
                <a:gd name="connsiteY16" fmla="*/ 37729 h 238125"/>
                <a:gd name="connsiteX17" fmla="*/ 66742 w 228600"/>
                <a:gd name="connsiteY17" fmla="*/ 58464 h 238125"/>
                <a:gd name="connsiteX18" fmla="*/ 47387 w 228600"/>
                <a:gd name="connsiteY18" fmla="*/ 121072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8600" h="238125">
                  <a:moveTo>
                    <a:pt x="7144" y="121072"/>
                  </a:moveTo>
                  <a:cubicBezTo>
                    <a:pt x="7144" y="80705"/>
                    <a:pt x="19031" y="50797"/>
                    <a:pt x="42815" y="31366"/>
                  </a:cubicBezTo>
                  <a:cubicBezTo>
                    <a:pt x="62684" y="15221"/>
                    <a:pt x="86906" y="7144"/>
                    <a:pt x="115472" y="7144"/>
                  </a:cubicBezTo>
                  <a:cubicBezTo>
                    <a:pt x="147238" y="7144"/>
                    <a:pt x="173193" y="16964"/>
                    <a:pt x="193348" y="36605"/>
                  </a:cubicBezTo>
                  <a:cubicBezTo>
                    <a:pt x="213503" y="56245"/>
                    <a:pt x="223590" y="83372"/>
                    <a:pt x="223590" y="117996"/>
                  </a:cubicBezTo>
                  <a:cubicBezTo>
                    <a:pt x="223590" y="146047"/>
                    <a:pt x="219132" y="168126"/>
                    <a:pt x="210217" y="184204"/>
                  </a:cubicBezTo>
                  <a:cubicBezTo>
                    <a:pt x="201301" y="200282"/>
                    <a:pt x="188319" y="212769"/>
                    <a:pt x="171279" y="221666"/>
                  </a:cubicBezTo>
                  <a:cubicBezTo>
                    <a:pt x="154238" y="230562"/>
                    <a:pt x="135636" y="235010"/>
                    <a:pt x="115481" y="235010"/>
                  </a:cubicBezTo>
                  <a:cubicBezTo>
                    <a:pt x="83144" y="235010"/>
                    <a:pt x="56998" y="225228"/>
                    <a:pt x="37071" y="205654"/>
                  </a:cubicBezTo>
                  <a:cubicBezTo>
                    <a:pt x="17117" y="186080"/>
                    <a:pt x="7144" y="157886"/>
                    <a:pt x="7144" y="121072"/>
                  </a:cubicBezTo>
                  <a:close/>
                  <a:moveTo>
                    <a:pt x="47387" y="121072"/>
                  </a:moveTo>
                  <a:cubicBezTo>
                    <a:pt x="47387" y="149000"/>
                    <a:pt x="53835" y="169897"/>
                    <a:pt x="66742" y="183785"/>
                  </a:cubicBezTo>
                  <a:cubicBezTo>
                    <a:pt x="79639" y="197682"/>
                    <a:pt x="95898" y="204626"/>
                    <a:pt x="115462" y="204626"/>
                  </a:cubicBezTo>
                  <a:cubicBezTo>
                    <a:pt x="134893" y="204626"/>
                    <a:pt x="151067" y="197653"/>
                    <a:pt x="163973" y="183690"/>
                  </a:cubicBezTo>
                  <a:cubicBezTo>
                    <a:pt x="176879" y="169736"/>
                    <a:pt x="183337" y="148457"/>
                    <a:pt x="183337" y="119853"/>
                  </a:cubicBezTo>
                  <a:cubicBezTo>
                    <a:pt x="183337" y="92888"/>
                    <a:pt x="176841" y="72466"/>
                    <a:pt x="163868" y="58569"/>
                  </a:cubicBezTo>
                  <a:cubicBezTo>
                    <a:pt x="150886" y="44682"/>
                    <a:pt x="134750" y="37729"/>
                    <a:pt x="115462" y="37729"/>
                  </a:cubicBezTo>
                  <a:cubicBezTo>
                    <a:pt x="95888" y="37729"/>
                    <a:pt x="79639" y="44644"/>
                    <a:pt x="66742" y="58464"/>
                  </a:cubicBezTo>
                  <a:cubicBezTo>
                    <a:pt x="53835" y="72285"/>
                    <a:pt x="47387" y="93154"/>
                    <a:pt x="47387" y="121072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E895FB20-8BC2-4C5C-B5A6-C7A07C810A25}"/>
                </a:ext>
              </a:extLst>
            </p:cNvPr>
            <p:cNvSpPr/>
            <p:nvPr/>
          </p:nvSpPr>
          <p:spPr>
            <a:xfrm>
              <a:off x="4704553" y="3175861"/>
              <a:ext cx="200025" cy="228600"/>
            </a:xfrm>
            <a:custGeom>
              <a:avLst/>
              <a:gdLst>
                <a:gd name="connsiteX0" fmla="*/ 7144 w 200025"/>
                <a:gd name="connsiteY0" fmla="*/ 230076 h 228600"/>
                <a:gd name="connsiteX1" fmla="*/ 7144 w 200025"/>
                <a:gd name="connsiteY1" fmla="*/ 12059 h 228600"/>
                <a:gd name="connsiteX2" fmla="*/ 42386 w 200025"/>
                <a:gd name="connsiteY2" fmla="*/ 12059 h 228600"/>
                <a:gd name="connsiteX3" fmla="*/ 42386 w 200025"/>
                <a:gd name="connsiteY3" fmla="*/ 43062 h 228600"/>
                <a:gd name="connsiteX4" fmla="*/ 115910 w 200025"/>
                <a:gd name="connsiteY4" fmla="*/ 7144 h 228600"/>
                <a:gd name="connsiteX5" fmla="*/ 154305 w 200025"/>
                <a:gd name="connsiteY5" fmla="*/ 14221 h 228600"/>
                <a:gd name="connsiteX6" fmla="*/ 180508 w 200025"/>
                <a:gd name="connsiteY6" fmla="*/ 32795 h 228600"/>
                <a:gd name="connsiteX7" fmla="*/ 192691 w 200025"/>
                <a:gd name="connsiteY7" fmla="*/ 60103 h 228600"/>
                <a:gd name="connsiteX8" fmla="*/ 194872 w 200025"/>
                <a:gd name="connsiteY8" fmla="*/ 96021 h 228600"/>
                <a:gd name="connsiteX9" fmla="*/ 194872 w 200025"/>
                <a:gd name="connsiteY9" fmla="*/ 230067 h 228600"/>
                <a:gd name="connsiteX10" fmla="*/ 155724 w 200025"/>
                <a:gd name="connsiteY10" fmla="*/ 230067 h 228600"/>
                <a:gd name="connsiteX11" fmla="*/ 155724 w 200025"/>
                <a:gd name="connsiteY11" fmla="*/ 97450 h 228600"/>
                <a:gd name="connsiteX12" fmla="*/ 151152 w 200025"/>
                <a:gd name="connsiteY12" fmla="*/ 63684 h 228600"/>
                <a:gd name="connsiteX13" fmla="*/ 134950 w 200025"/>
                <a:gd name="connsiteY13" fmla="*/ 45825 h 228600"/>
                <a:gd name="connsiteX14" fmla="*/ 107652 w 200025"/>
                <a:gd name="connsiteY14" fmla="*/ 39157 h 228600"/>
                <a:gd name="connsiteX15" fmla="*/ 64475 w 200025"/>
                <a:gd name="connsiteY15" fmla="*/ 54140 h 228600"/>
                <a:gd name="connsiteX16" fmla="*/ 46311 w 200025"/>
                <a:gd name="connsiteY16" fmla="*/ 111004 h 228600"/>
                <a:gd name="connsiteX17" fmla="*/ 46311 w 200025"/>
                <a:gd name="connsiteY17" fmla="*/ 230067 h 228600"/>
                <a:gd name="connsiteX18" fmla="*/ 7144 w 200025"/>
                <a:gd name="connsiteY18" fmla="*/ 230067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0025" h="228600">
                  <a:moveTo>
                    <a:pt x="7144" y="230076"/>
                  </a:moveTo>
                  <a:lnTo>
                    <a:pt x="7144" y="12059"/>
                  </a:lnTo>
                  <a:lnTo>
                    <a:pt x="42386" y="12059"/>
                  </a:lnTo>
                  <a:lnTo>
                    <a:pt x="42386" y="43062"/>
                  </a:lnTo>
                  <a:cubicBezTo>
                    <a:pt x="59350" y="19107"/>
                    <a:pt x="83858" y="7144"/>
                    <a:pt x="115910" y="7144"/>
                  </a:cubicBezTo>
                  <a:cubicBezTo>
                    <a:pt x="129835" y="7144"/>
                    <a:pt x="142627" y="9506"/>
                    <a:pt x="154305" y="14221"/>
                  </a:cubicBezTo>
                  <a:cubicBezTo>
                    <a:pt x="165973" y="18945"/>
                    <a:pt x="174717" y="25136"/>
                    <a:pt x="180508" y="32795"/>
                  </a:cubicBezTo>
                  <a:cubicBezTo>
                    <a:pt x="186309" y="40472"/>
                    <a:pt x="190376" y="49568"/>
                    <a:pt x="192691" y="60103"/>
                  </a:cubicBezTo>
                  <a:cubicBezTo>
                    <a:pt x="194138" y="66951"/>
                    <a:pt x="194872" y="78924"/>
                    <a:pt x="194872" y="96021"/>
                  </a:cubicBezTo>
                  <a:lnTo>
                    <a:pt x="194872" y="230067"/>
                  </a:lnTo>
                  <a:lnTo>
                    <a:pt x="155724" y="230067"/>
                  </a:lnTo>
                  <a:lnTo>
                    <a:pt x="155724" y="97450"/>
                  </a:lnTo>
                  <a:cubicBezTo>
                    <a:pt x="155724" y="82401"/>
                    <a:pt x="154200" y="71142"/>
                    <a:pt x="151152" y="63684"/>
                  </a:cubicBezTo>
                  <a:cubicBezTo>
                    <a:pt x="148114" y="56226"/>
                    <a:pt x="142704" y="50273"/>
                    <a:pt x="134950" y="45825"/>
                  </a:cubicBezTo>
                  <a:cubicBezTo>
                    <a:pt x="127197" y="41377"/>
                    <a:pt x="118091" y="39157"/>
                    <a:pt x="107652" y="39157"/>
                  </a:cubicBezTo>
                  <a:cubicBezTo>
                    <a:pt x="90973" y="39157"/>
                    <a:pt x="76581" y="44148"/>
                    <a:pt x="64475" y="54140"/>
                  </a:cubicBezTo>
                  <a:cubicBezTo>
                    <a:pt x="52368" y="64132"/>
                    <a:pt x="46311" y="83077"/>
                    <a:pt x="46311" y="111004"/>
                  </a:cubicBezTo>
                  <a:lnTo>
                    <a:pt x="46311" y="230067"/>
                  </a:lnTo>
                  <a:lnTo>
                    <a:pt x="7144" y="230067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D6B50C9F-3324-45FF-A96B-80272E11D681}"/>
                </a:ext>
              </a:extLst>
            </p:cNvPr>
            <p:cNvSpPr/>
            <p:nvPr/>
          </p:nvSpPr>
          <p:spPr>
            <a:xfrm>
              <a:off x="4939325" y="3175861"/>
              <a:ext cx="200025" cy="238125"/>
            </a:xfrm>
            <a:custGeom>
              <a:avLst/>
              <a:gdLst>
                <a:gd name="connsiteX0" fmla="*/ 7144 w 200025"/>
                <a:gd name="connsiteY0" fmla="*/ 165002 h 238125"/>
                <a:gd name="connsiteX1" fmla="*/ 45863 w 200025"/>
                <a:gd name="connsiteY1" fmla="*/ 159248 h 238125"/>
                <a:gd name="connsiteX2" fmla="*/ 64027 w 200025"/>
                <a:gd name="connsiteY2" fmla="*/ 192910 h 238125"/>
                <a:gd name="connsiteX3" fmla="*/ 105680 w 200025"/>
                <a:gd name="connsiteY3" fmla="*/ 204616 h 238125"/>
                <a:gd name="connsiteX4" fmla="*/ 145704 w 200025"/>
                <a:gd name="connsiteY4" fmla="*/ 194253 h 238125"/>
                <a:gd name="connsiteX5" fmla="*/ 158753 w 200025"/>
                <a:gd name="connsiteY5" fmla="*/ 169926 h 238125"/>
                <a:gd name="connsiteX6" fmla="*/ 147228 w 200025"/>
                <a:gd name="connsiteY6" fmla="*/ 150219 h 238125"/>
                <a:gd name="connsiteX7" fmla="*/ 107204 w 200025"/>
                <a:gd name="connsiteY7" fmla="*/ 137703 h 238125"/>
                <a:gd name="connsiteX8" fmla="*/ 47482 w 200025"/>
                <a:gd name="connsiteY8" fmla="*/ 119948 h 238125"/>
                <a:gd name="connsiteX9" fmla="*/ 22260 w 200025"/>
                <a:gd name="connsiteY9" fmla="*/ 99212 h 238125"/>
                <a:gd name="connsiteX10" fmla="*/ 13669 w 200025"/>
                <a:gd name="connsiteY10" fmla="*/ 69961 h 238125"/>
                <a:gd name="connsiteX11" fmla="*/ 20736 w 200025"/>
                <a:gd name="connsiteY11" fmla="*/ 42967 h 238125"/>
                <a:gd name="connsiteX12" fmla="*/ 39986 w 200025"/>
                <a:gd name="connsiteY12" fmla="*/ 22336 h 238125"/>
                <a:gd name="connsiteX13" fmla="*/ 64884 w 200025"/>
                <a:gd name="connsiteY13" fmla="*/ 11554 h 238125"/>
                <a:gd name="connsiteX14" fmla="*/ 98717 w 200025"/>
                <a:gd name="connsiteY14" fmla="*/ 7144 h 238125"/>
                <a:gd name="connsiteX15" fmla="*/ 146466 w 200025"/>
                <a:gd name="connsiteY15" fmla="*/ 14526 h 238125"/>
                <a:gd name="connsiteX16" fmla="*/ 176813 w 200025"/>
                <a:gd name="connsiteY16" fmla="*/ 34547 h 238125"/>
                <a:gd name="connsiteX17" fmla="*/ 190300 w 200025"/>
                <a:gd name="connsiteY17" fmla="*/ 68313 h 238125"/>
                <a:gd name="connsiteX18" fmla="*/ 152010 w 200025"/>
                <a:gd name="connsiteY18" fmla="*/ 73247 h 238125"/>
                <a:gd name="connsiteX19" fmla="*/ 136893 w 200025"/>
                <a:gd name="connsiteY19" fmla="*/ 46968 h 238125"/>
                <a:gd name="connsiteX20" fmla="*/ 101546 w 200025"/>
                <a:gd name="connsiteY20" fmla="*/ 37529 h 238125"/>
                <a:gd name="connsiteX21" fmla="*/ 63037 w 200025"/>
                <a:gd name="connsiteY21" fmla="*/ 45949 h 238125"/>
                <a:gd name="connsiteX22" fmla="*/ 51511 w 200025"/>
                <a:gd name="connsiteY22" fmla="*/ 65656 h 238125"/>
                <a:gd name="connsiteX23" fmla="*/ 56293 w 200025"/>
                <a:gd name="connsiteY23" fmla="*/ 78581 h 238125"/>
                <a:gd name="connsiteX24" fmla="*/ 71304 w 200025"/>
                <a:gd name="connsiteY24" fmla="*/ 88430 h 238125"/>
                <a:gd name="connsiteX25" fmla="*/ 105889 w 200025"/>
                <a:gd name="connsiteY25" fmla="*/ 97869 h 238125"/>
                <a:gd name="connsiteX26" fmla="*/ 163868 w 200025"/>
                <a:gd name="connsiteY26" fmla="*/ 115014 h 238125"/>
                <a:gd name="connsiteX27" fmla="*/ 189643 w 200025"/>
                <a:gd name="connsiteY27" fmla="*/ 134417 h 238125"/>
                <a:gd name="connsiteX28" fmla="*/ 198987 w 200025"/>
                <a:gd name="connsiteY28" fmla="*/ 166021 h 238125"/>
                <a:gd name="connsiteX29" fmla="*/ 187576 w 200025"/>
                <a:gd name="connsiteY29" fmla="*/ 200816 h 238125"/>
                <a:gd name="connsiteX30" fmla="*/ 154619 w 200025"/>
                <a:gd name="connsiteY30" fmla="*/ 226066 h 238125"/>
                <a:gd name="connsiteX31" fmla="*/ 105889 w 200025"/>
                <a:gd name="connsiteY31" fmla="*/ 235001 h 238125"/>
                <a:gd name="connsiteX32" fmla="*/ 37262 w 200025"/>
                <a:gd name="connsiteY32" fmla="*/ 217341 h 238125"/>
                <a:gd name="connsiteX33" fmla="*/ 7144 w 200025"/>
                <a:gd name="connsiteY33" fmla="*/ 165002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00025" h="238125">
                  <a:moveTo>
                    <a:pt x="7144" y="165002"/>
                  </a:moveTo>
                  <a:lnTo>
                    <a:pt x="45863" y="159248"/>
                  </a:lnTo>
                  <a:cubicBezTo>
                    <a:pt x="48044" y="173898"/>
                    <a:pt x="54093" y="185118"/>
                    <a:pt x="64027" y="192910"/>
                  </a:cubicBezTo>
                  <a:cubicBezTo>
                    <a:pt x="73952" y="200711"/>
                    <a:pt x="87840" y="204616"/>
                    <a:pt x="105680" y="204616"/>
                  </a:cubicBezTo>
                  <a:cubicBezTo>
                    <a:pt x="123663" y="204616"/>
                    <a:pt x="137008" y="201168"/>
                    <a:pt x="145704" y="194253"/>
                  </a:cubicBezTo>
                  <a:cubicBezTo>
                    <a:pt x="154400" y="187338"/>
                    <a:pt x="158753" y="179232"/>
                    <a:pt x="158753" y="169926"/>
                  </a:cubicBezTo>
                  <a:cubicBezTo>
                    <a:pt x="158753" y="161573"/>
                    <a:pt x="154915" y="155010"/>
                    <a:pt x="147228" y="150219"/>
                  </a:cubicBezTo>
                  <a:cubicBezTo>
                    <a:pt x="141865" y="146933"/>
                    <a:pt x="128521" y="142761"/>
                    <a:pt x="107204" y="137703"/>
                  </a:cubicBezTo>
                  <a:cubicBezTo>
                    <a:pt x="78486" y="130855"/>
                    <a:pt x="58588" y="124939"/>
                    <a:pt x="47482" y="119948"/>
                  </a:cubicBezTo>
                  <a:cubicBezTo>
                    <a:pt x="36395" y="114957"/>
                    <a:pt x="27975" y="108042"/>
                    <a:pt x="22260" y="99212"/>
                  </a:cubicBezTo>
                  <a:cubicBezTo>
                    <a:pt x="16526" y="90383"/>
                    <a:pt x="13669" y="80639"/>
                    <a:pt x="13669" y="69961"/>
                  </a:cubicBezTo>
                  <a:cubicBezTo>
                    <a:pt x="13669" y="60236"/>
                    <a:pt x="16021" y="51245"/>
                    <a:pt x="20736" y="42967"/>
                  </a:cubicBezTo>
                  <a:cubicBezTo>
                    <a:pt x="25441" y="34690"/>
                    <a:pt x="31861" y="27813"/>
                    <a:pt x="39986" y="22336"/>
                  </a:cubicBezTo>
                  <a:cubicBezTo>
                    <a:pt x="46072" y="18097"/>
                    <a:pt x="54378" y="14507"/>
                    <a:pt x="64884" y="11554"/>
                  </a:cubicBezTo>
                  <a:cubicBezTo>
                    <a:pt x="75400" y="8611"/>
                    <a:pt x="86668" y="7144"/>
                    <a:pt x="98717" y="7144"/>
                  </a:cubicBezTo>
                  <a:cubicBezTo>
                    <a:pt x="116834" y="7144"/>
                    <a:pt x="132760" y="9611"/>
                    <a:pt x="146466" y="14526"/>
                  </a:cubicBezTo>
                  <a:cubicBezTo>
                    <a:pt x="160163" y="19460"/>
                    <a:pt x="170288" y="26127"/>
                    <a:pt x="176813" y="34547"/>
                  </a:cubicBezTo>
                  <a:cubicBezTo>
                    <a:pt x="183347" y="42967"/>
                    <a:pt x="187833" y="54216"/>
                    <a:pt x="190300" y="68313"/>
                  </a:cubicBezTo>
                  <a:lnTo>
                    <a:pt x="152010" y="73247"/>
                  </a:lnTo>
                  <a:cubicBezTo>
                    <a:pt x="150266" y="62027"/>
                    <a:pt x="145228" y="53264"/>
                    <a:pt x="136893" y="46968"/>
                  </a:cubicBezTo>
                  <a:cubicBezTo>
                    <a:pt x="128549" y="40681"/>
                    <a:pt x="116777" y="37529"/>
                    <a:pt x="101546" y="37529"/>
                  </a:cubicBezTo>
                  <a:cubicBezTo>
                    <a:pt x="83553" y="37529"/>
                    <a:pt x="70733" y="40338"/>
                    <a:pt x="63037" y="45949"/>
                  </a:cubicBezTo>
                  <a:cubicBezTo>
                    <a:pt x="55350" y="51559"/>
                    <a:pt x="51511" y="58131"/>
                    <a:pt x="51511" y="65656"/>
                  </a:cubicBezTo>
                  <a:cubicBezTo>
                    <a:pt x="51511" y="70447"/>
                    <a:pt x="53102" y="74752"/>
                    <a:pt x="56293" y="78581"/>
                  </a:cubicBezTo>
                  <a:cubicBezTo>
                    <a:pt x="59484" y="82553"/>
                    <a:pt x="64484" y="85839"/>
                    <a:pt x="71304" y="88430"/>
                  </a:cubicBezTo>
                  <a:cubicBezTo>
                    <a:pt x="75219" y="89802"/>
                    <a:pt x="86744" y="92955"/>
                    <a:pt x="105889" y="97869"/>
                  </a:cubicBezTo>
                  <a:cubicBezTo>
                    <a:pt x="133588" y="104851"/>
                    <a:pt x="152915" y="110566"/>
                    <a:pt x="163868" y="115014"/>
                  </a:cubicBezTo>
                  <a:cubicBezTo>
                    <a:pt x="174813" y="119462"/>
                    <a:pt x="183404" y="125930"/>
                    <a:pt x="189643" y="134417"/>
                  </a:cubicBezTo>
                  <a:cubicBezTo>
                    <a:pt x="195872" y="142904"/>
                    <a:pt x="198987" y="153438"/>
                    <a:pt x="198987" y="166021"/>
                  </a:cubicBezTo>
                  <a:cubicBezTo>
                    <a:pt x="198987" y="178346"/>
                    <a:pt x="195186" y="189938"/>
                    <a:pt x="187576" y="200816"/>
                  </a:cubicBezTo>
                  <a:cubicBezTo>
                    <a:pt x="179956" y="211703"/>
                    <a:pt x="168974" y="220113"/>
                    <a:pt x="154619" y="226066"/>
                  </a:cubicBezTo>
                  <a:cubicBezTo>
                    <a:pt x="140256" y="232019"/>
                    <a:pt x="124016" y="235001"/>
                    <a:pt x="105889" y="235001"/>
                  </a:cubicBezTo>
                  <a:cubicBezTo>
                    <a:pt x="75876" y="235001"/>
                    <a:pt x="52997" y="229114"/>
                    <a:pt x="37262" y="217341"/>
                  </a:cubicBezTo>
                  <a:cubicBezTo>
                    <a:pt x="21527" y="205569"/>
                    <a:pt x="11497" y="188138"/>
                    <a:pt x="7144" y="165002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A4F2AB2B-2213-4FE4-B9D3-19E56FACF765}"/>
                </a:ext>
              </a:extLst>
            </p:cNvPr>
            <p:cNvSpPr/>
            <p:nvPr/>
          </p:nvSpPr>
          <p:spPr>
            <a:xfrm>
              <a:off x="5179536" y="3180766"/>
              <a:ext cx="200025" cy="228600"/>
            </a:xfrm>
            <a:custGeom>
              <a:avLst/>
              <a:gdLst>
                <a:gd name="connsiteX0" fmla="*/ 159420 w 200025"/>
                <a:gd name="connsiteY0" fmla="*/ 225171 h 228600"/>
                <a:gd name="connsiteX1" fmla="*/ 159420 w 200025"/>
                <a:gd name="connsiteY1" fmla="*/ 193148 h 228600"/>
                <a:gd name="connsiteX2" fmla="*/ 86115 w 200025"/>
                <a:gd name="connsiteY2" fmla="*/ 230105 h 228600"/>
                <a:gd name="connsiteX3" fmla="*/ 47930 w 200025"/>
                <a:gd name="connsiteY3" fmla="*/ 222714 h 228600"/>
                <a:gd name="connsiteX4" fmla="*/ 21612 w 200025"/>
                <a:gd name="connsiteY4" fmla="*/ 204140 h 228600"/>
                <a:gd name="connsiteX5" fmla="*/ 9534 w 200025"/>
                <a:gd name="connsiteY5" fmla="*/ 176736 h 228600"/>
                <a:gd name="connsiteX6" fmla="*/ 7144 w 200025"/>
                <a:gd name="connsiteY6" fmla="*/ 142246 h 228600"/>
                <a:gd name="connsiteX7" fmla="*/ 7144 w 200025"/>
                <a:gd name="connsiteY7" fmla="*/ 7163 h 228600"/>
                <a:gd name="connsiteX8" fmla="*/ 46291 w 200025"/>
                <a:gd name="connsiteY8" fmla="*/ 7163 h 228600"/>
                <a:gd name="connsiteX9" fmla="*/ 46291 w 200025"/>
                <a:gd name="connsiteY9" fmla="*/ 128073 h 228600"/>
                <a:gd name="connsiteX10" fmla="*/ 48682 w 200025"/>
                <a:gd name="connsiteY10" fmla="*/ 167078 h 228600"/>
                <a:gd name="connsiteX11" fmla="*/ 64351 w 200025"/>
                <a:gd name="connsiteY11" fmla="*/ 189967 h 228600"/>
                <a:gd name="connsiteX12" fmla="*/ 93926 w 200025"/>
                <a:gd name="connsiteY12" fmla="*/ 198282 h 228600"/>
                <a:gd name="connsiteX13" fmla="*/ 126997 w 200025"/>
                <a:gd name="connsiteY13" fmla="*/ 189757 h 228600"/>
                <a:gd name="connsiteX14" fmla="*/ 148857 w 200025"/>
                <a:gd name="connsiteY14" fmla="*/ 166554 h 228600"/>
                <a:gd name="connsiteX15" fmla="*/ 155277 w 200025"/>
                <a:gd name="connsiteY15" fmla="*/ 123958 h 228600"/>
                <a:gd name="connsiteX16" fmla="*/ 155277 w 200025"/>
                <a:gd name="connsiteY16" fmla="*/ 7144 h 228600"/>
                <a:gd name="connsiteX17" fmla="*/ 194434 w 200025"/>
                <a:gd name="connsiteY17" fmla="*/ 7144 h 228600"/>
                <a:gd name="connsiteX18" fmla="*/ 194434 w 200025"/>
                <a:gd name="connsiteY18" fmla="*/ 225162 h 228600"/>
                <a:gd name="connsiteX19" fmla="*/ 159420 w 200025"/>
                <a:gd name="connsiteY19" fmla="*/ 225162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0025" h="228600">
                  <a:moveTo>
                    <a:pt x="159420" y="225171"/>
                  </a:moveTo>
                  <a:lnTo>
                    <a:pt x="159420" y="193148"/>
                  </a:lnTo>
                  <a:cubicBezTo>
                    <a:pt x="141427" y="217789"/>
                    <a:pt x="116995" y="230105"/>
                    <a:pt x="86115" y="230105"/>
                  </a:cubicBezTo>
                  <a:cubicBezTo>
                    <a:pt x="72476" y="230105"/>
                    <a:pt x="59750" y="227638"/>
                    <a:pt x="47930" y="222714"/>
                  </a:cubicBezTo>
                  <a:cubicBezTo>
                    <a:pt x="36109" y="217789"/>
                    <a:pt x="27337" y="211598"/>
                    <a:pt x="21612" y="204140"/>
                  </a:cubicBezTo>
                  <a:cubicBezTo>
                    <a:pt x="15878" y="196682"/>
                    <a:pt x="11859" y="187547"/>
                    <a:pt x="9534" y="176736"/>
                  </a:cubicBezTo>
                  <a:cubicBezTo>
                    <a:pt x="7934" y="169478"/>
                    <a:pt x="7144" y="157982"/>
                    <a:pt x="7144" y="142246"/>
                  </a:cubicBezTo>
                  <a:lnTo>
                    <a:pt x="7144" y="7163"/>
                  </a:lnTo>
                  <a:lnTo>
                    <a:pt x="46291" y="7163"/>
                  </a:lnTo>
                  <a:lnTo>
                    <a:pt x="46291" y="128073"/>
                  </a:lnTo>
                  <a:cubicBezTo>
                    <a:pt x="46291" y="147371"/>
                    <a:pt x="47082" y="160382"/>
                    <a:pt x="48682" y="167078"/>
                  </a:cubicBezTo>
                  <a:cubicBezTo>
                    <a:pt x="51149" y="176803"/>
                    <a:pt x="56369" y="184423"/>
                    <a:pt x="64351" y="189967"/>
                  </a:cubicBezTo>
                  <a:cubicBezTo>
                    <a:pt x="72323" y="195510"/>
                    <a:pt x="82191" y="198282"/>
                    <a:pt x="93926" y="198282"/>
                  </a:cubicBezTo>
                  <a:cubicBezTo>
                    <a:pt x="105670" y="198282"/>
                    <a:pt x="116700" y="195443"/>
                    <a:pt x="126997" y="189757"/>
                  </a:cubicBezTo>
                  <a:cubicBezTo>
                    <a:pt x="137293" y="184080"/>
                    <a:pt x="144580" y="176346"/>
                    <a:pt x="148857" y="166554"/>
                  </a:cubicBezTo>
                  <a:cubicBezTo>
                    <a:pt x="153133" y="156763"/>
                    <a:pt x="155277" y="142570"/>
                    <a:pt x="155277" y="123958"/>
                  </a:cubicBezTo>
                  <a:lnTo>
                    <a:pt x="155277" y="7144"/>
                  </a:lnTo>
                  <a:lnTo>
                    <a:pt x="194434" y="7144"/>
                  </a:lnTo>
                  <a:lnTo>
                    <a:pt x="194434" y="225162"/>
                  </a:lnTo>
                  <a:lnTo>
                    <a:pt x="159420" y="225162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BE5E0E70-CD8A-4E5C-89C0-BC55E0B739F9}"/>
                </a:ext>
              </a:extLst>
            </p:cNvPr>
            <p:cNvSpPr/>
            <p:nvPr/>
          </p:nvSpPr>
          <p:spPr>
            <a:xfrm>
              <a:off x="5429977" y="3097842"/>
              <a:ext cx="47625" cy="314325"/>
            </a:xfrm>
            <a:custGeom>
              <a:avLst/>
              <a:gdLst>
                <a:gd name="connsiteX0" fmla="*/ 7144 w 47625"/>
                <a:gd name="connsiteY0" fmla="*/ 308096 h 314325"/>
                <a:gd name="connsiteX1" fmla="*/ 7144 w 47625"/>
                <a:gd name="connsiteY1" fmla="*/ 7144 h 314325"/>
                <a:gd name="connsiteX2" fmla="*/ 46291 w 47625"/>
                <a:gd name="connsiteY2" fmla="*/ 7144 h 314325"/>
                <a:gd name="connsiteX3" fmla="*/ 46291 w 47625"/>
                <a:gd name="connsiteY3" fmla="*/ 308096 h 314325"/>
                <a:gd name="connsiteX4" fmla="*/ 7144 w 47625"/>
                <a:gd name="connsiteY4" fmla="*/ 308096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314325">
                  <a:moveTo>
                    <a:pt x="7144" y="308096"/>
                  </a:moveTo>
                  <a:lnTo>
                    <a:pt x="7144" y="7144"/>
                  </a:lnTo>
                  <a:lnTo>
                    <a:pt x="46291" y="7144"/>
                  </a:lnTo>
                  <a:lnTo>
                    <a:pt x="46291" y="308096"/>
                  </a:lnTo>
                  <a:lnTo>
                    <a:pt x="7144" y="308096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6A1B0552-7334-4F87-A815-458686BFF990}"/>
                </a:ext>
              </a:extLst>
            </p:cNvPr>
            <p:cNvSpPr/>
            <p:nvPr/>
          </p:nvSpPr>
          <p:spPr>
            <a:xfrm>
              <a:off x="5510958" y="3104623"/>
              <a:ext cx="123825" cy="304800"/>
            </a:xfrm>
            <a:custGeom>
              <a:avLst/>
              <a:gdLst>
                <a:gd name="connsiteX0" fmla="*/ 114167 w 123825"/>
                <a:gd name="connsiteY0" fmla="*/ 268262 h 304800"/>
                <a:gd name="connsiteX1" fmla="*/ 119825 w 123825"/>
                <a:gd name="connsiteY1" fmla="*/ 300904 h 304800"/>
                <a:gd name="connsiteX2" fmla="*/ 90240 w 123825"/>
                <a:gd name="connsiteY2" fmla="*/ 304190 h 304800"/>
                <a:gd name="connsiteX3" fmla="*/ 57178 w 123825"/>
                <a:gd name="connsiteY3" fmla="*/ 297828 h 304800"/>
                <a:gd name="connsiteX4" fmla="*/ 40643 w 123825"/>
                <a:gd name="connsiteY4" fmla="*/ 281092 h 304800"/>
                <a:gd name="connsiteX5" fmla="*/ 35862 w 123825"/>
                <a:gd name="connsiteY5" fmla="*/ 237468 h 304800"/>
                <a:gd name="connsiteX6" fmla="*/ 35862 w 123825"/>
                <a:gd name="connsiteY6" fmla="*/ 112043 h 304800"/>
                <a:gd name="connsiteX7" fmla="*/ 7144 w 123825"/>
                <a:gd name="connsiteY7" fmla="*/ 112043 h 304800"/>
                <a:gd name="connsiteX8" fmla="*/ 7144 w 123825"/>
                <a:gd name="connsiteY8" fmla="*/ 83296 h 304800"/>
                <a:gd name="connsiteX9" fmla="*/ 35862 w 123825"/>
                <a:gd name="connsiteY9" fmla="*/ 83296 h 304800"/>
                <a:gd name="connsiteX10" fmla="*/ 35862 w 123825"/>
                <a:gd name="connsiteY10" fmla="*/ 29309 h 304800"/>
                <a:gd name="connsiteX11" fmla="*/ 74800 w 123825"/>
                <a:gd name="connsiteY11" fmla="*/ 7144 h 304800"/>
                <a:gd name="connsiteX12" fmla="*/ 74800 w 123825"/>
                <a:gd name="connsiteY12" fmla="*/ 83296 h 304800"/>
                <a:gd name="connsiteX13" fmla="*/ 114176 w 123825"/>
                <a:gd name="connsiteY13" fmla="*/ 83296 h 304800"/>
                <a:gd name="connsiteX14" fmla="*/ 114176 w 123825"/>
                <a:gd name="connsiteY14" fmla="*/ 112043 h 304800"/>
                <a:gd name="connsiteX15" fmla="*/ 74800 w 123825"/>
                <a:gd name="connsiteY15" fmla="*/ 112043 h 304800"/>
                <a:gd name="connsiteX16" fmla="*/ 74800 w 123825"/>
                <a:gd name="connsiteY16" fmla="*/ 239525 h 304800"/>
                <a:gd name="connsiteX17" fmla="*/ 76867 w 123825"/>
                <a:gd name="connsiteY17" fmla="*/ 259852 h 304800"/>
                <a:gd name="connsiteX18" fmla="*/ 83611 w 123825"/>
                <a:gd name="connsiteY18" fmla="*/ 267033 h 304800"/>
                <a:gd name="connsiteX19" fmla="*/ 96984 w 123825"/>
                <a:gd name="connsiteY19" fmla="*/ 269700 h 304800"/>
                <a:gd name="connsiteX20" fmla="*/ 114167 w 123825"/>
                <a:gd name="connsiteY20" fmla="*/ 268262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3825" h="304800">
                  <a:moveTo>
                    <a:pt x="114167" y="268262"/>
                  </a:moveTo>
                  <a:lnTo>
                    <a:pt x="119825" y="300904"/>
                  </a:lnTo>
                  <a:cubicBezTo>
                    <a:pt x="108804" y="303086"/>
                    <a:pt x="98946" y="304190"/>
                    <a:pt x="90240" y="304190"/>
                  </a:cubicBezTo>
                  <a:cubicBezTo>
                    <a:pt x="76029" y="304190"/>
                    <a:pt x="65008" y="302066"/>
                    <a:pt x="57178" y="297828"/>
                  </a:cubicBezTo>
                  <a:cubicBezTo>
                    <a:pt x="49349" y="293589"/>
                    <a:pt x="43834" y="288007"/>
                    <a:pt x="40643" y="281092"/>
                  </a:cubicBezTo>
                  <a:cubicBezTo>
                    <a:pt x="37452" y="274177"/>
                    <a:pt x="35862" y="259642"/>
                    <a:pt x="35862" y="237468"/>
                  </a:cubicBezTo>
                  <a:lnTo>
                    <a:pt x="35862" y="112043"/>
                  </a:lnTo>
                  <a:lnTo>
                    <a:pt x="7144" y="112043"/>
                  </a:lnTo>
                  <a:lnTo>
                    <a:pt x="7144" y="83296"/>
                  </a:lnTo>
                  <a:lnTo>
                    <a:pt x="35862" y="83296"/>
                  </a:lnTo>
                  <a:lnTo>
                    <a:pt x="35862" y="29309"/>
                  </a:lnTo>
                  <a:lnTo>
                    <a:pt x="74800" y="7144"/>
                  </a:lnTo>
                  <a:lnTo>
                    <a:pt x="74800" y="83296"/>
                  </a:lnTo>
                  <a:lnTo>
                    <a:pt x="114176" y="83296"/>
                  </a:lnTo>
                  <a:lnTo>
                    <a:pt x="114176" y="112043"/>
                  </a:lnTo>
                  <a:lnTo>
                    <a:pt x="74800" y="112043"/>
                  </a:lnTo>
                  <a:lnTo>
                    <a:pt x="74800" y="239525"/>
                  </a:lnTo>
                  <a:cubicBezTo>
                    <a:pt x="74800" y="250060"/>
                    <a:pt x="75486" y="256842"/>
                    <a:pt x="76867" y="259852"/>
                  </a:cubicBezTo>
                  <a:cubicBezTo>
                    <a:pt x="78248" y="262861"/>
                    <a:pt x="80496" y="265252"/>
                    <a:pt x="83611" y="267033"/>
                  </a:cubicBezTo>
                  <a:cubicBezTo>
                    <a:pt x="86725" y="268824"/>
                    <a:pt x="91183" y="269700"/>
                    <a:pt x="96984" y="269700"/>
                  </a:cubicBezTo>
                  <a:cubicBezTo>
                    <a:pt x="101327" y="269700"/>
                    <a:pt x="107061" y="269224"/>
                    <a:pt x="114167" y="268262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31ED9D06-919C-487A-A0A9-8C7A842308A6}"/>
                </a:ext>
              </a:extLst>
            </p:cNvPr>
            <p:cNvSpPr/>
            <p:nvPr/>
          </p:nvSpPr>
          <p:spPr>
            <a:xfrm>
              <a:off x="5645670" y="3175861"/>
              <a:ext cx="219075" cy="238125"/>
            </a:xfrm>
            <a:custGeom>
              <a:avLst/>
              <a:gdLst>
                <a:gd name="connsiteX0" fmla="*/ 171155 w 219075"/>
                <a:gd name="connsiteY0" fmla="*/ 203187 h 238125"/>
                <a:gd name="connsiteX1" fmla="*/ 129283 w 219075"/>
                <a:gd name="connsiteY1" fmla="*/ 227819 h 238125"/>
                <a:gd name="connsiteX2" fmla="*/ 86106 w 219075"/>
                <a:gd name="connsiteY2" fmla="*/ 235010 h 238125"/>
                <a:gd name="connsiteX3" fmla="*/ 27584 w 219075"/>
                <a:gd name="connsiteY3" fmla="*/ 217456 h 238125"/>
                <a:gd name="connsiteX4" fmla="*/ 7144 w 219075"/>
                <a:gd name="connsiteY4" fmla="*/ 172603 h 238125"/>
                <a:gd name="connsiteX5" fmla="*/ 14869 w 219075"/>
                <a:gd name="connsiteY5" fmla="*/ 143351 h 238125"/>
                <a:gd name="connsiteX6" fmla="*/ 35100 w 219075"/>
                <a:gd name="connsiteY6" fmla="*/ 122111 h 238125"/>
                <a:gd name="connsiteX7" fmla="*/ 63265 w 219075"/>
                <a:gd name="connsiteY7" fmla="*/ 109995 h 238125"/>
                <a:gd name="connsiteX8" fmla="*/ 98069 w 219075"/>
                <a:gd name="connsiteY8" fmla="*/ 104461 h 238125"/>
                <a:gd name="connsiteX9" fmla="*/ 167897 w 219075"/>
                <a:gd name="connsiteY9" fmla="*/ 91726 h 238125"/>
                <a:gd name="connsiteX10" fmla="*/ 168107 w 219075"/>
                <a:gd name="connsiteY10" fmla="*/ 82077 h 238125"/>
                <a:gd name="connsiteX11" fmla="*/ 157010 w 219075"/>
                <a:gd name="connsiteY11" fmla="*/ 50254 h 238125"/>
                <a:gd name="connsiteX12" fmla="*/ 112414 w 219075"/>
                <a:gd name="connsiteY12" fmla="*/ 37738 h 238125"/>
                <a:gd name="connsiteX13" fmla="*/ 71628 w 219075"/>
                <a:gd name="connsiteY13" fmla="*/ 46873 h 238125"/>
                <a:gd name="connsiteX14" fmla="*/ 52159 w 219075"/>
                <a:gd name="connsiteY14" fmla="*/ 79210 h 238125"/>
                <a:gd name="connsiteX15" fmla="*/ 13868 w 219075"/>
                <a:gd name="connsiteY15" fmla="*/ 74276 h 238125"/>
                <a:gd name="connsiteX16" fmla="*/ 31061 w 219075"/>
                <a:gd name="connsiteY16" fmla="*/ 36814 h 238125"/>
                <a:gd name="connsiteX17" fmla="*/ 65646 w 219075"/>
                <a:gd name="connsiteY17" fmla="*/ 14840 h 238125"/>
                <a:gd name="connsiteX18" fmla="*/ 118072 w 219075"/>
                <a:gd name="connsiteY18" fmla="*/ 7144 h 238125"/>
                <a:gd name="connsiteX19" fmla="*/ 166145 w 219075"/>
                <a:gd name="connsiteY19" fmla="*/ 13706 h 238125"/>
                <a:gd name="connsiteX20" fmla="*/ 193338 w 219075"/>
                <a:gd name="connsiteY20" fmla="*/ 30232 h 238125"/>
                <a:gd name="connsiteX21" fmla="*/ 205511 w 219075"/>
                <a:gd name="connsiteY21" fmla="*/ 55378 h 238125"/>
                <a:gd name="connsiteX22" fmla="*/ 207474 w 219075"/>
                <a:gd name="connsiteY22" fmla="*/ 89459 h 238125"/>
                <a:gd name="connsiteX23" fmla="*/ 207474 w 219075"/>
                <a:gd name="connsiteY23" fmla="*/ 138722 h 238125"/>
                <a:gd name="connsiteX24" fmla="*/ 209979 w 219075"/>
                <a:gd name="connsiteY24" fmla="*/ 203902 h 238125"/>
                <a:gd name="connsiteX25" fmla="*/ 219875 w 219075"/>
                <a:gd name="connsiteY25" fmla="*/ 230076 h 238125"/>
                <a:gd name="connsiteX26" fmla="*/ 178975 w 219075"/>
                <a:gd name="connsiteY26" fmla="*/ 230076 h 238125"/>
                <a:gd name="connsiteX27" fmla="*/ 171155 w 219075"/>
                <a:gd name="connsiteY27" fmla="*/ 203187 h 238125"/>
                <a:gd name="connsiteX28" fmla="*/ 167897 w 219075"/>
                <a:gd name="connsiteY28" fmla="*/ 120663 h 238125"/>
                <a:gd name="connsiteX29" fmla="*/ 103937 w 219075"/>
                <a:gd name="connsiteY29" fmla="*/ 134626 h 238125"/>
                <a:gd name="connsiteX30" fmla="*/ 69790 w 219075"/>
                <a:gd name="connsiteY30" fmla="*/ 142008 h 238125"/>
                <a:gd name="connsiteX31" fmla="*/ 54340 w 219075"/>
                <a:gd name="connsiteY31" fmla="*/ 154019 h 238125"/>
                <a:gd name="connsiteX32" fmla="*/ 48911 w 219075"/>
                <a:gd name="connsiteY32" fmla="*/ 171574 h 238125"/>
                <a:gd name="connsiteX33" fmla="*/ 60760 w 219075"/>
                <a:gd name="connsiteY33" fmla="*/ 196215 h 238125"/>
                <a:gd name="connsiteX34" fmla="*/ 95460 w 219075"/>
                <a:gd name="connsiteY34" fmla="*/ 206064 h 238125"/>
                <a:gd name="connsiteX35" fmla="*/ 135703 w 219075"/>
                <a:gd name="connsiteY35" fmla="*/ 196729 h 238125"/>
                <a:gd name="connsiteX36" fmla="*/ 161592 w 219075"/>
                <a:gd name="connsiteY36" fmla="*/ 171164 h 238125"/>
                <a:gd name="connsiteX37" fmla="*/ 167907 w 219075"/>
                <a:gd name="connsiteY37" fmla="*/ 134217 h 238125"/>
                <a:gd name="connsiteX38" fmla="*/ 167907 w 219075"/>
                <a:gd name="connsiteY38" fmla="*/ 120663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19075" h="238125">
                  <a:moveTo>
                    <a:pt x="171155" y="203187"/>
                  </a:moveTo>
                  <a:cubicBezTo>
                    <a:pt x="156658" y="214827"/>
                    <a:pt x="142694" y="223028"/>
                    <a:pt x="129283" y="227819"/>
                  </a:cubicBezTo>
                  <a:cubicBezTo>
                    <a:pt x="115862" y="232610"/>
                    <a:pt x="101470" y="235010"/>
                    <a:pt x="86106" y="235010"/>
                  </a:cubicBezTo>
                  <a:cubicBezTo>
                    <a:pt x="60722" y="235010"/>
                    <a:pt x="41215" y="229162"/>
                    <a:pt x="27584" y="217456"/>
                  </a:cubicBezTo>
                  <a:cubicBezTo>
                    <a:pt x="13944" y="205750"/>
                    <a:pt x="7144" y="190805"/>
                    <a:pt x="7144" y="172603"/>
                  </a:cubicBezTo>
                  <a:cubicBezTo>
                    <a:pt x="7144" y="161925"/>
                    <a:pt x="9715" y="152171"/>
                    <a:pt x="14869" y="143351"/>
                  </a:cubicBezTo>
                  <a:cubicBezTo>
                    <a:pt x="20012" y="134522"/>
                    <a:pt x="26756" y="127435"/>
                    <a:pt x="35100" y="122111"/>
                  </a:cubicBezTo>
                  <a:cubicBezTo>
                    <a:pt x="43434" y="116767"/>
                    <a:pt x="52826" y="112738"/>
                    <a:pt x="63265" y="109995"/>
                  </a:cubicBezTo>
                  <a:cubicBezTo>
                    <a:pt x="70952" y="108090"/>
                    <a:pt x="82544" y="106232"/>
                    <a:pt x="98069" y="104461"/>
                  </a:cubicBezTo>
                  <a:cubicBezTo>
                    <a:pt x="129673" y="100898"/>
                    <a:pt x="152962" y="96660"/>
                    <a:pt x="167897" y="91726"/>
                  </a:cubicBezTo>
                  <a:cubicBezTo>
                    <a:pt x="168040" y="86668"/>
                    <a:pt x="168107" y="83449"/>
                    <a:pt x="168107" y="82077"/>
                  </a:cubicBezTo>
                  <a:cubicBezTo>
                    <a:pt x="168107" y="67027"/>
                    <a:pt x="164402" y="56417"/>
                    <a:pt x="157010" y="50254"/>
                  </a:cubicBezTo>
                  <a:cubicBezTo>
                    <a:pt x="147009" y="41910"/>
                    <a:pt x="132140" y="37738"/>
                    <a:pt x="112414" y="37738"/>
                  </a:cubicBezTo>
                  <a:cubicBezTo>
                    <a:pt x="93993" y="37738"/>
                    <a:pt x="80410" y="40786"/>
                    <a:pt x="71628" y="46873"/>
                  </a:cubicBezTo>
                  <a:cubicBezTo>
                    <a:pt x="62855" y="52969"/>
                    <a:pt x="56359" y="63741"/>
                    <a:pt x="52159" y="79210"/>
                  </a:cubicBezTo>
                  <a:lnTo>
                    <a:pt x="13868" y="74276"/>
                  </a:lnTo>
                  <a:cubicBezTo>
                    <a:pt x="17354" y="58817"/>
                    <a:pt x="23079" y="46330"/>
                    <a:pt x="31061" y="36814"/>
                  </a:cubicBezTo>
                  <a:cubicBezTo>
                    <a:pt x="39033" y="27299"/>
                    <a:pt x="50568" y="19974"/>
                    <a:pt x="65646" y="14840"/>
                  </a:cubicBezTo>
                  <a:cubicBezTo>
                    <a:pt x="80734" y="9716"/>
                    <a:pt x="98203" y="7144"/>
                    <a:pt x="118072" y="7144"/>
                  </a:cubicBezTo>
                  <a:cubicBezTo>
                    <a:pt x="137789" y="7144"/>
                    <a:pt x="153819" y="9325"/>
                    <a:pt x="166145" y="13706"/>
                  </a:cubicBezTo>
                  <a:cubicBezTo>
                    <a:pt x="178470" y="18088"/>
                    <a:pt x="187538" y="23593"/>
                    <a:pt x="193338" y="30232"/>
                  </a:cubicBezTo>
                  <a:cubicBezTo>
                    <a:pt x="199130" y="36862"/>
                    <a:pt x="203197" y="45244"/>
                    <a:pt x="205511" y="55378"/>
                  </a:cubicBezTo>
                  <a:cubicBezTo>
                    <a:pt x="206826" y="61674"/>
                    <a:pt x="207474" y="73038"/>
                    <a:pt x="207474" y="89459"/>
                  </a:cubicBezTo>
                  <a:lnTo>
                    <a:pt x="207474" y="138722"/>
                  </a:lnTo>
                  <a:cubicBezTo>
                    <a:pt x="207474" y="173069"/>
                    <a:pt x="208302" y="194805"/>
                    <a:pt x="209979" y="203902"/>
                  </a:cubicBezTo>
                  <a:cubicBezTo>
                    <a:pt x="211646" y="213008"/>
                    <a:pt x="214941" y="221733"/>
                    <a:pt x="219875" y="230076"/>
                  </a:cubicBezTo>
                  <a:lnTo>
                    <a:pt x="178975" y="230076"/>
                  </a:lnTo>
                  <a:cubicBezTo>
                    <a:pt x="174927" y="222409"/>
                    <a:pt x="172317" y="213446"/>
                    <a:pt x="171155" y="203187"/>
                  </a:cubicBezTo>
                  <a:close/>
                  <a:moveTo>
                    <a:pt x="167897" y="120663"/>
                  </a:moveTo>
                  <a:cubicBezTo>
                    <a:pt x="153676" y="126140"/>
                    <a:pt x="132369" y="130788"/>
                    <a:pt x="103937" y="134626"/>
                  </a:cubicBezTo>
                  <a:cubicBezTo>
                    <a:pt x="87849" y="136808"/>
                    <a:pt x="76457" y="139275"/>
                    <a:pt x="69790" y="142008"/>
                  </a:cubicBezTo>
                  <a:cubicBezTo>
                    <a:pt x="63113" y="144751"/>
                    <a:pt x="57969" y="148752"/>
                    <a:pt x="54340" y="154019"/>
                  </a:cubicBezTo>
                  <a:cubicBezTo>
                    <a:pt x="50711" y="159296"/>
                    <a:pt x="48911" y="165144"/>
                    <a:pt x="48911" y="171574"/>
                  </a:cubicBezTo>
                  <a:cubicBezTo>
                    <a:pt x="48911" y="181432"/>
                    <a:pt x="52854" y="189633"/>
                    <a:pt x="60760" y="196215"/>
                  </a:cubicBezTo>
                  <a:cubicBezTo>
                    <a:pt x="68666" y="202778"/>
                    <a:pt x="80229" y="206064"/>
                    <a:pt x="95460" y="206064"/>
                  </a:cubicBezTo>
                  <a:cubicBezTo>
                    <a:pt x="110538" y="206064"/>
                    <a:pt x="123958" y="202949"/>
                    <a:pt x="135703" y="196729"/>
                  </a:cubicBezTo>
                  <a:cubicBezTo>
                    <a:pt x="147447" y="190500"/>
                    <a:pt x="156086" y="181985"/>
                    <a:pt x="161592" y="171164"/>
                  </a:cubicBezTo>
                  <a:cubicBezTo>
                    <a:pt x="165792" y="162820"/>
                    <a:pt x="167907" y="150504"/>
                    <a:pt x="167907" y="134217"/>
                  </a:cubicBezTo>
                  <a:lnTo>
                    <a:pt x="167907" y="120663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C683304A-AE8F-49B8-A3D9-084FF73D89A5}"/>
                </a:ext>
              </a:extLst>
            </p:cNvPr>
            <p:cNvSpPr/>
            <p:nvPr/>
          </p:nvSpPr>
          <p:spPr>
            <a:xfrm>
              <a:off x="5909360" y="3175861"/>
              <a:ext cx="200025" cy="228600"/>
            </a:xfrm>
            <a:custGeom>
              <a:avLst/>
              <a:gdLst>
                <a:gd name="connsiteX0" fmla="*/ 7144 w 200025"/>
                <a:gd name="connsiteY0" fmla="*/ 230076 h 228600"/>
                <a:gd name="connsiteX1" fmla="*/ 7144 w 200025"/>
                <a:gd name="connsiteY1" fmla="*/ 12059 h 228600"/>
                <a:gd name="connsiteX2" fmla="*/ 42386 w 200025"/>
                <a:gd name="connsiteY2" fmla="*/ 12059 h 228600"/>
                <a:gd name="connsiteX3" fmla="*/ 42386 w 200025"/>
                <a:gd name="connsiteY3" fmla="*/ 43062 h 228600"/>
                <a:gd name="connsiteX4" fmla="*/ 115910 w 200025"/>
                <a:gd name="connsiteY4" fmla="*/ 7144 h 228600"/>
                <a:gd name="connsiteX5" fmla="*/ 154305 w 200025"/>
                <a:gd name="connsiteY5" fmla="*/ 14221 h 228600"/>
                <a:gd name="connsiteX6" fmla="*/ 180508 w 200025"/>
                <a:gd name="connsiteY6" fmla="*/ 32795 h 228600"/>
                <a:gd name="connsiteX7" fmla="*/ 192691 w 200025"/>
                <a:gd name="connsiteY7" fmla="*/ 60103 h 228600"/>
                <a:gd name="connsiteX8" fmla="*/ 194872 w 200025"/>
                <a:gd name="connsiteY8" fmla="*/ 96021 h 228600"/>
                <a:gd name="connsiteX9" fmla="*/ 194872 w 200025"/>
                <a:gd name="connsiteY9" fmla="*/ 230067 h 228600"/>
                <a:gd name="connsiteX10" fmla="*/ 155724 w 200025"/>
                <a:gd name="connsiteY10" fmla="*/ 230067 h 228600"/>
                <a:gd name="connsiteX11" fmla="*/ 155724 w 200025"/>
                <a:gd name="connsiteY11" fmla="*/ 97450 h 228600"/>
                <a:gd name="connsiteX12" fmla="*/ 151152 w 200025"/>
                <a:gd name="connsiteY12" fmla="*/ 63684 h 228600"/>
                <a:gd name="connsiteX13" fmla="*/ 134950 w 200025"/>
                <a:gd name="connsiteY13" fmla="*/ 45825 h 228600"/>
                <a:gd name="connsiteX14" fmla="*/ 107652 w 200025"/>
                <a:gd name="connsiteY14" fmla="*/ 39157 h 228600"/>
                <a:gd name="connsiteX15" fmla="*/ 64475 w 200025"/>
                <a:gd name="connsiteY15" fmla="*/ 54140 h 228600"/>
                <a:gd name="connsiteX16" fmla="*/ 46311 w 200025"/>
                <a:gd name="connsiteY16" fmla="*/ 111004 h 228600"/>
                <a:gd name="connsiteX17" fmla="*/ 46311 w 200025"/>
                <a:gd name="connsiteY17" fmla="*/ 230067 h 228600"/>
                <a:gd name="connsiteX18" fmla="*/ 7144 w 200025"/>
                <a:gd name="connsiteY18" fmla="*/ 230067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0025" h="228600">
                  <a:moveTo>
                    <a:pt x="7144" y="230076"/>
                  </a:moveTo>
                  <a:lnTo>
                    <a:pt x="7144" y="12059"/>
                  </a:lnTo>
                  <a:lnTo>
                    <a:pt x="42386" y="12059"/>
                  </a:lnTo>
                  <a:lnTo>
                    <a:pt x="42386" y="43062"/>
                  </a:lnTo>
                  <a:cubicBezTo>
                    <a:pt x="59350" y="19107"/>
                    <a:pt x="83858" y="7144"/>
                    <a:pt x="115910" y="7144"/>
                  </a:cubicBezTo>
                  <a:cubicBezTo>
                    <a:pt x="129835" y="7144"/>
                    <a:pt x="142627" y="9506"/>
                    <a:pt x="154305" y="14221"/>
                  </a:cubicBezTo>
                  <a:cubicBezTo>
                    <a:pt x="165973" y="18945"/>
                    <a:pt x="174717" y="25136"/>
                    <a:pt x="180508" y="32795"/>
                  </a:cubicBezTo>
                  <a:cubicBezTo>
                    <a:pt x="186309" y="40472"/>
                    <a:pt x="190376" y="49568"/>
                    <a:pt x="192691" y="60103"/>
                  </a:cubicBezTo>
                  <a:cubicBezTo>
                    <a:pt x="194139" y="66951"/>
                    <a:pt x="194872" y="78924"/>
                    <a:pt x="194872" y="96021"/>
                  </a:cubicBezTo>
                  <a:lnTo>
                    <a:pt x="194872" y="230067"/>
                  </a:lnTo>
                  <a:lnTo>
                    <a:pt x="155724" y="230067"/>
                  </a:lnTo>
                  <a:lnTo>
                    <a:pt x="155724" y="97450"/>
                  </a:lnTo>
                  <a:cubicBezTo>
                    <a:pt x="155724" y="82401"/>
                    <a:pt x="154200" y="71142"/>
                    <a:pt x="151152" y="63684"/>
                  </a:cubicBezTo>
                  <a:cubicBezTo>
                    <a:pt x="148114" y="56226"/>
                    <a:pt x="142704" y="50273"/>
                    <a:pt x="134950" y="45825"/>
                  </a:cubicBezTo>
                  <a:cubicBezTo>
                    <a:pt x="127197" y="41377"/>
                    <a:pt x="118091" y="39157"/>
                    <a:pt x="107652" y="39157"/>
                  </a:cubicBezTo>
                  <a:cubicBezTo>
                    <a:pt x="90973" y="39157"/>
                    <a:pt x="76581" y="44148"/>
                    <a:pt x="64475" y="54140"/>
                  </a:cubicBezTo>
                  <a:cubicBezTo>
                    <a:pt x="52369" y="64132"/>
                    <a:pt x="46311" y="83077"/>
                    <a:pt x="46311" y="111004"/>
                  </a:cubicBezTo>
                  <a:lnTo>
                    <a:pt x="46311" y="230067"/>
                  </a:lnTo>
                  <a:lnTo>
                    <a:pt x="7144" y="230067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27A1AAB6-D5E7-432A-8B38-4E3658BB18EB}"/>
                </a:ext>
              </a:extLst>
            </p:cNvPr>
            <p:cNvSpPr/>
            <p:nvPr/>
          </p:nvSpPr>
          <p:spPr>
            <a:xfrm>
              <a:off x="6138265" y="3104623"/>
              <a:ext cx="123825" cy="304800"/>
            </a:xfrm>
            <a:custGeom>
              <a:avLst/>
              <a:gdLst>
                <a:gd name="connsiteX0" fmla="*/ 114167 w 123825"/>
                <a:gd name="connsiteY0" fmla="*/ 268262 h 304800"/>
                <a:gd name="connsiteX1" fmla="*/ 119824 w 123825"/>
                <a:gd name="connsiteY1" fmla="*/ 300904 h 304800"/>
                <a:gd name="connsiteX2" fmla="*/ 90240 w 123825"/>
                <a:gd name="connsiteY2" fmla="*/ 304190 h 304800"/>
                <a:gd name="connsiteX3" fmla="*/ 57178 w 123825"/>
                <a:gd name="connsiteY3" fmla="*/ 297828 h 304800"/>
                <a:gd name="connsiteX4" fmla="*/ 40643 w 123825"/>
                <a:gd name="connsiteY4" fmla="*/ 281092 h 304800"/>
                <a:gd name="connsiteX5" fmla="*/ 35861 w 123825"/>
                <a:gd name="connsiteY5" fmla="*/ 237468 h 304800"/>
                <a:gd name="connsiteX6" fmla="*/ 35861 w 123825"/>
                <a:gd name="connsiteY6" fmla="*/ 112043 h 304800"/>
                <a:gd name="connsiteX7" fmla="*/ 7144 w 123825"/>
                <a:gd name="connsiteY7" fmla="*/ 112043 h 304800"/>
                <a:gd name="connsiteX8" fmla="*/ 7144 w 123825"/>
                <a:gd name="connsiteY8" fmla="*/ 83296 h 304800"/>
                <a:gd name="connsiteX9" fmla="*/ 35861 w 123825"/>
                <a:gd name="connsiteY9" fmla="*/ 83296 h 304800"/>
                <a:gd name="connsiteX10" fmla="*/ 35861 w 123825"/>
                <a:gd name="connsiteY10" fmla="*/ 29309 h 304800"/>
                <a:gd name="connsiteX11" fmla="*/ 74800 w 123825"/>
                <a:gd name="connsiteY11" fmla="*/ 7144 h 304800"/>
                <a:gd name="connsiteX12" fmla="*/ 74800 w 123825"/>
                <a:gd name="connsiteY12" fmla="*/ 83296 h 304800"/>
                <a:gd name="connsiteX13" fmla="*/ 114176 w 123825"/>
                <a:gd name="connsiteY13" fmla="*/ 83296 h 304800"/>
                <a:gd name="connsiteX14" fmla="*/ 114176 w 123825"/>
                <a:gd name="connsiteY14" fmla="*/ 112043 h 304800"/>
                <a:gd name="connsiteX15" fmla="*/ 74800 w 123825"/>
                <a:gd name="connsiteY15" fmla="*/ 112043 h 304800"/>
                <a:gd name="connsiteX16" fmla="*/ 74800 w 123825"/>
                <a:gd name="connsiteY16" fmla="*/ 239525 h 304800"/>
                <a:gd name="connsiteX17" fmla="*/ 76867 w 123825"/>
                <a:gd name="connsiteY17" fmla="*/ 259852 h 304800"/>
                <a:gd name="connsiteX18" fmla="*/ 83610 w 123825"/>
                <a:gd name="connsiteY18" fmla="*/ 267033 h 304800"/>
                <a:gd name="connsiteX19" fmla="*/ 96984 w 123825"/>
                <a:gd name="connsiteY19" fmla="*/ 269700 h 304800"/>
                <a:gd name="connsiteX20" fmla="*/ 114167 w 123825"/>
                <a:gd name="connsiteY20" fmla="*/ 268262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3825" h="304800">
                  <a:moveTo>
                    <a:pt x="114167" y="268262"/>
                  </a:moveTo>
                  <a:lnTo>
                    <a:pt x="119824" y="300904"/>
                  </a:lnTo>
                  <a:cubicBezTo>
                    <a:pt x="108804" y="303086"/>
                    <a:pt x="98946" y="304190"/>
                    <a:pt x="90240" y="304190"/>
                  </a:cubicBezTo>
                  <a:cubicBezTo>
                    <a:pt x="76029" y="304190"/>
                    <a:pt x="65008" y="302066"/>
                    <a:pt x="57178" y="297828"/>
                  </a:cubicBezTo>
                  <a:cubicBezTo>
                    <a:pt x="49349" y="293589"/>
                    <a:pt x="43834" y="288007"/>
                    <a:pt x="40643" y="281092"/>
                  </a:cubicBezTo>
                  <a:cubicBezTo>
                    <a:pt x="37452" y="274177"/>
                    <a:pt x="35861" y="259642"/>
                    <a:pt x="35861" y="237468"/>
                  </a:cubicBezTo>
                  <a:lnTo>
                    <a:pt x="35861" y="112043"/>
                  </a:lnTo>
                  <a:lnTo>
                    <a:pt x="7144" y="112043"/>
                  </a:lnTo>
                  <a:lnTo>
                    <a:pt x="7144" y="83296"/>
                  </a:lnTo>
                  <a:lnTo>
                    <a:pt x="35861" y="83296"/>
                  </a:lnTo>
                  <a:lnTo>
                    <a:pt x="35861" y="29309"/>
                  </a:lnTo>
                  <a:lnTo>
                    <a:pt x="74800" y="7144"/>
                  </a:lnTo>
                  <a:lnTo>
                    <a:pt x="74800" y="83296"/>
                  </a:lnTo>
                  <a:lnTo>
                    <a:pt x="114176" y="83296"/>
                  </a:lnTo>
                  <a:lnTo>
                    <a:pt x="114176" y="112043"/>
                  </a:lnTo>
                  <a:lnTo>
                    <a:pt x="74800" y="112043"/>
                  </a:lnTo>
                  <a:lnTo>
                    <a:pt x="74800" y="239525"/>
                  </a:lnTo>
                  <a:cubicBezTo>
                    <a:pt x="74800" y="250060"/>
                    <a:pt x="75486" y="256842"/>
                    <a:pt x="76867" y="259852"/>
                  </a:cubicBezTo>
                  <a:cubicBezTo>
                    <a:pt x="78248" y="262861"/>
                    <a:pt x="80496" y="265252"/>
                    <a:pt x="83610" y="267033"/>
                  </a:cubicBezTo>
                  <a:cubicBezTo>
                    <a:pt x="86725" y="268824"/>
                    <a:pt x="91183" y="269700"/>
                    <a:pt x="96984" y="269700"/>
                  </a:cubicBezTo>
                  <a:cubicBezTo>
                    <a:pt x="101327" y="269700"/>
                    <a:pt x="107061" y="269224"/>
                    <a:pt x="114167" y="268262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081F4768-AA88-4390-BEDB-4DB6452E4DBC}"/>
                </a:ext>
              </a:extLst>
            </p:cNvPr>
            <p:cNvSpPr/>
            <p:nvPr/>
          </p:nvSpPr>
          <p:spPr>
            <a:xfrm>
              <a:off x="6270577" y="3175861"/>
              <a:ext cx="200025" cy="238125"/>
            </a:xfrm>
            <a:custGeom>
              <a:avLst/>
              <a:gdLst>
                <a:gd name="connsiteX0" fmla="*/ 7144 w 200025"/>
                <a:gd name="connsiteY0" fmla="*/ 165002 h 238125"/>
                <a:gd name="connsiteX1" fmla="*/ 45863 w 200025"/>
                <a:gd name="connsiteY1" fmla="*/ 159248 h 238125"/>
                <a:gd name="connsiteX2" fmla="*/ 64027 w 200025"/>
                <a:gd name="connsiteY2" fmla="*/ 192910 h 238125"/>
                <a:gd name="connsiteX3" fmla="*/ 105680 w 200025"/>
                <a:gd name="connsiteY3" fmla="*/ 204616 h 238125"/>
                <a:gd name="connsiteX4" fmla="*/ 145704 w 200025"/>
                <a:gd name="connsiteY4" fmla="*/ 194253 h 238125"/>
                <a:gd name="connsiteX5" fmla="*/ 158753 w 200025"/>
                <a:gd name="connsiteY5" fmla="*/ 169926 h 238125"/>
                <a:gd name="connsiteX6" fmla="*/ 147228 w 200025"/>
                <a:gd name="connsiteY6" fmla="*/ 150219 h 238125"/>
                <a:gd name="connsiteX7" fmla="*/ 107204 w 200025"/>
                <a:gd name="connsiteY7" fmla="*/ 137703 h 238125"/>
                <a:gd name="connsiteX8" fmla="*/ 47482 w 200025"/>
                <a:gd name="connsiteY8" fmla="*/ 119948 h 238125"/>
                <a:gd name="connsiteX9" fmla="*/ 22260 w 200025"/>
                <a:gd name="connsiteY9" fmla="*/ 99212 h 238125"/>
                <a:gd name="connsiteX10" fmla="*/ 13668 w 200025"/>
                <a:gd name="connsiteY10" fmla="*/ 69961 h 238125"/>
                <a:gd name="connsiteX11" fmla="*/ 20736 w 200025"/>
                <a:gd name="connsiteY11" fmla="*/ 42967 h 238125"/>
                <a:gd name="connsiteX12" fmla="*/ 39986 w 200025"/>
                <a:gd name="connsiteY12" fmla="*/ 22336 h 238125"/>
                <a:gd name="connsiteX13" fmla="*/ 64884 w 200025"/>
                <a:gd name="connsiteY13" fmla="*/ 11554 h 238125"/>
                <a:gd name="connsiteX14" fmla="*/ 98717 w 200025"/>
                <a:gd name="connsiteY14" fmla="*/ 7144 h 238125"/>
                <a:gd name="connsiteX15" fmla="*/ 146466 w 200025"/>
                <a:gd name="connsiteY15" fmla="*/ 14526 h 238125"/>
                <a:gd name="connsiteX16" fmla="*/ 176813 w 200025"/>
                <a:gd name="connsiteY16" fmla="*/ 34547 h 238125"/>
                <a:gd name="connsiteX17" fmla="*/ 190300 w 200025"/>
                <a:gd name="connsiteY17" fmla="*/ 68313 h 238125"/>
                <a:gd name="connsiteX18" fmla="*/ 152010 w 200025"/>
                <a:gd name="connsiteY18" fmla="*/ 73247 h 238125"/>
                <a:gd name="connsiteX19" fmla="*/ 136893 w 200025"/>
                <a:gd name="connsiteY19" fmla="*/ 46968 h 238125"/>
                <a:gd name="connsiteX20" fmla="*/ 101546 w 200025"/>
                <a:gd name="connsiteY20" fmla="*/ 37529 h 238125"/>
                <a:gd name="connsiteX21" fmla="*/ 63037 w 200025"/>
                <a:gd name="connsiteY21" fmla="*/ 45949 h 238125"/>
                <a:gd name="connsiteX22" fmla="*/ 51511 w 200025"/>
                <a:gd name="connsiteY22" fmla="*/ 65656 h 238125"/>
                <a:gd name="connsiteX23" fmla="*/ 56293 w 200025"/>
                <a:gd name="connsiteY23" fmla="*/ 78581 h 238125"/>
                <a:gd name="connsiteX24" fmla="*/ 71304 w 200025"/>
                <a:gd name="connsiteY24" fmla="*/ 88430 h 238125"/>
                <a:gd name="connsiteX25" fmla="*/ 105889 w 200025"/>
                <a:gd name="connsiteY25" fmla="*/ 97869 h 238125"/>
                <a:gd name="connsiteX26" fmla="*/ 163868 w 200025"/>
                <a:gd name="connsiteY26" fmla="*/ 115014 h 238125"/>
                <a:gd name="connsiteX27" fmla="*/ 189643 w 200025"/>
                <a:gd name="connsiteY27" fmla="*/ 134417 h 238125"/>
                <a:gd name="connsiteX28" fmla="*/ 198987 w 200025"/>
                <a:gd name="connsiteY28" fmla="*/ 166021 h 238125"/>
                <a:gd name="connsiteX29" fmla="*/ 187576 w 200025"/>
                <a:gd name="connsiteY29" fmla="*/ 200816 h 238125"/>
                <a:gd name="connsiteX30" fmla="*/ 154619 w 200025"/>
                <a:gd name="connsiteY30" fmla="*/ 226066 h 238125"/>
                <a:gd name="connsiteX31" fmla="*/ 105889 w 200025"/>
                <a:gd name="connsiteY31" fmla="*/ 235001 h 238125"/>
                <a:gd name="connsiteX32" fmla="*/ 37262 w 200025"/>
                <a:gd name="connsiteY32" fmla="*/ 217341 h 238125"/>
                <a:gd name="connsiteX33" fmla="*/ 7144 w 200025"/>
                <a:gd name="connsiteY33" fmla="*/ 165002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00025" h="238125">
                  <a:moveTo>
                    <a:pt x="7144" y="165002"/>
                  </a:moveTo>
                  <a:lnTo>
                    <a:pt x="45863" y="159248"/>
                  </a:lnTo>
                  <a:cubicBezTo>
                    <a:pt x="48044" y="173898"/>
                    <a:pt x="54093" y="185118"/>
                    <a:pt x="64027" y="192910"/>
                  </a:cubicBezTo>
                  <a:cubicBezTo>
                    <a:pt x="73952" y="200711"/>
                    <a:pt x="87840" y="204616"/>
                    <a:pt x="105680" y="204616"/>
                  </a:cubicBezTo>
                  <a:cubicBezTo>
                    <a:pt x="123663" y="204616"/>
                    <a:pt x="137008" y="201168"/>
                    <a:pt x="145704" y="194253"/>
                  </a:cubicBezTo>
                  <a:cubicBezTo>
                    <a:pt x="154400" y="187338"/>
                    <a:pt x="158753" y="179232"/>
                    <a:pt x="158753" y="169926"/>
                  </a:cubicBezTo>
                  <a:cubicBezTo>
                    <a:pt x="158753" y="161573"/>
                    <a:pt x="154915" y="155010"/>
                    <a:pt x="147228" y="150219"/>
                  </a:cubicBezTo>
                  <a:cubicBezTo>
                    <a:pt x="141865" y="146933"/>
                    <a:pt x="128521" y="142761"/>
                    <a:pt x="107204" y="137703"/>
                  </a:cubicBezTo>
                  <a:cubicBezTo>
                    <a:pt x="78486" y="130855"/>
                    <a:pt x="58588" y="124939"/>
                    <a:pt x="47482" y="119948"/>
                  </a:cubicBezTo>
                  <a:cubicBezTo>
                    <a:pt x="36395" y="114957"/>
                    <a:pt x="27975" y="108042"/>
                    <a:pt x="22260" y="99212"/>
                  </a:cubicBezTo>
                  <a:cubicBezTo>
                    <a:pt x="16526" y="90383"/>
                    <a:pt x="13668" y="80639"/>
                    <a:pt x="13668" y="69961"/>
                  </a:cubicBezTo>
                  <a:cubicBezTo>
                    <a:pt x="13668" y="60236"/>
                    <a:pt x="16021" y="51245"/>
                    <a:pt x="20736" y="42967"/>
                  </a:cubicBezTo>
                  <a:cubicBezTo>
                    <a:pt x="25441" y="34690"/>
                    <a:pt x="31861" y="27813"/>
                    <a:pt x="39986" y="22336"/>
                  </a:cubicBezTo>
                  <a:cubicBezTo>
                    <a:pt x="46072" y="18097"/>
                    <a:pt x="54378" y="14507"/>
                    <a:pt x="64884" y="11554"/>
                  </a:cubicBezTo>
                  <a:cubicBezTo>
                    <a:pt x="75400" y="8611"/>
                    <a:pt x="86668" y="7144"/>
                    <a:pt x="98717" y="7144"/>
                  </a:cubicBezTo>
                  <a:cubicBezTo>
                    <a:pt x="116834" y="7144"/>
                    <a:pt x="132760" y="9611"/>
                    <a:pt x="146466" y="14526"/>
                  </a:cubicBezTo>
                  <a:cubicBezTo>
                    <a:pt x="160163" y="19460"/>
                    <a:pt x="170288" y="26127"/>
                    <a:pt x="176813" y="34547"/>
                  </a:cubicBezTo>
                  <a:cubicBezTo>
                    <a:pt x="183347" y="42967"/>
                    <a:pt x="187833" y="54216"/>
                    <a:pt x="190300" y="68313"/>
                  </a:cubicBezTo>
                  <a:lnTo>
                    <a:pt x="152010" y="73247"/>
                  </a:lnTo>
                  <a:cubicBezTo>
                    <a:pt x="150266" y="62027"/>
                    <a:pt x="145228" y="53264"/>
                    <a:pt x="136893" y="46968"/>
                  </a:cubicBezTo>
                  <a:cubicBezTo>
                    <a:pt x="128549" y="40681"/>
                    <a:pt x="116777" y="37529"/>
                    <a:pt x="101546" y="37529"/>
                  </a:cubicBezTo>
                  <a:cubicBezTo>
                    <a:pt x="83553" y="37529"/>
                    <a:pt x="70733" y="40338"/>
                    <a:pt x="63037" y="45949"/>
                  </a:cubicBezTo>
                  <a:cubicBezTo>
                    <a:pt x="55350" y="51559"/>
                    <a:pt x="51511" y="58131"/>
                    <a:pt x="51511" y="65656"/>
                  </a:cubicBezTo>
                  <a:cubicBezTo>
                    <a:pt x="51511" y="70447"/>
                    <a:pt x="53102" y="74752"/>
                    <a:pt x="56293" y="78581"/>
                  </a:cubicBezTo>
                  <a:cubicBezTo>
                    <a:pt x="59484" y="82553"/>
                    <a:pt x="64484" y="85839"/>
                    <a:pt x="71304" y="88430"/>
                  </a:cubicBezTo>
                  <a:cubicBezTo>
                    <a:pt x="75219" y="89802"/>
                    <a:pt x="86744" y="92955"/>
                    <a:pt x="105889" y="97869"/>
                  </a:cubicBezTo>
                  <a:cubicBezTo>
                    <a:pt x="133588" y="104851"/>
                    <a:pt x="152915" y="110566"/>
                    <a:pt x="163868" y="115014"/>
                  </a:cubicBezTo>
                  <a:cubicBezTo>
                    <a:pt x="174812" y="119462"/>
                    <a:pt x="183404" y="125930"/>
                    <a:pt x="189643" y="134417"/>
                  </a:cubicBezTo>
                  <a:cubicBezTo>
                    <a:pt x="195872" y="142904"/>
                    <a:pt x="198987" y="153438"/>
                    <a:pt x="198987" y="166021"/>
                  </a:cubicBezTo>
                  <a:cubicBezTo>
                    <a:pt x="198987" y="178346"/>
                    <a:pt x="195186" y="189938"/>
                    <a:pt x="187576" y="200816"/>
                  </a:cubicBezTo>
                  <a:cubicBezTo>
                    <a:pt x="179956" y="211703"/>
                    <a:pt x="168974" y="220113"/>
                    <a:pt x="154619" y="226066"/>
                  </a:cubicBezTo>
                  <a:cubicBezTo>
                    <a:pt x="140256" y="232019"/>
                    <a:pt x="124016" y="235001"/>
                    <a:pt x="105889" y="235001"/>
                  </a:cubicBezTo>
                  <a:cubicBezTo>
                    <a:pt x="75876" y="235001"/>
                    <a:pt x="52997" y="229114"/>
                    <a:pt x="37262" y="217341"/>
                  </a:cubicBezTo>
                  <a:cubicBezTo>
                    <a:pt x="21527" y="205569"/>
                    <a:pt x="11497" y="188138"/>
                    <a:pt x="7144" y="165002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71096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9" r:id="rId2"/>
    <p:sldLayoutId id="2147483692" r:id="rId3"/>
    <p:sldLayoutId id="2147483694" r:id="rId4"/>
    <p:sldLayoutId id="2147483705" r:id="rId5"/>
    <p:sldLayoutId id="2147483707" r:id="rId6"/>
    <p:sldLayoutId id="2147483697" r:id="rId7"/>
    <p:sldLayoutId id="2147483702" r:id="rId8"/>
    <p:sldLayoutId id="2147483703" r:id="rId9"/>
  </p:sldLayoutIdLst>
  <p:transition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Trebuchet MS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Trebuchet MS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Trebuchet MS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Trebuchet MS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>
          <a:solidFill>
            <a:schemeClr val="tx1"/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tx1"/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tx1"/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tx1"/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tx1"/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tags" Target="../tags/tag42.xml"/><Relationship Id="rId39" Type="http://schemas.openxmlformats.org/officeDocument/2006/relationships/tags" Target="../tags/tag55.xml"/><Relationship Id="rId21" Type="http://schemas.openxmlformats.org/officeDocument/2006/relationships/tags" Target="../tags/tag37.xml"/><Relationship Id="rId34" Type="http://schemas.openxmlformats.org/officeDocument/2006/relationships/tags" Target="../tags/tag50.xml"/><Relationship Id="rId42" Type="http://schemas.openxmlformats.org/officeDocument/2006/relationships/tags" Target="../tags/tag58.xml"/><Relationship Id="rId47" Type="http://schemas.openxmlformats.org/officeDocument/2006/relationships/tags" Target="../tags/tag63.xml"/><Relationship Id="rId50" Type="http://schemas.openxmlformats.org/officeDocument/2006/relationships/tags" Target="../tags/tag66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6" Type="http://schemas.openxmlformats.org/officeDocument/2006/relationships/tags" Target="../tags/tag32.xml"/><Relationship Id="rId29" Type="http://schemas.openxmlformats.org/officeDocument/2006/relationships/tags" Target="../tags/tag45.xml"/><Relationship Id="rId11" Type="http://schemas.openxmlformats.org/officeDocument/2006/relationships/tags" Target="../tags/tag27.xml"/><Relationship Id="rId24" Type="http://schemas.openxmlformats.org/officeDocument/2006/relationships/tags" Target="../tags/tag40.xml"/><Relationship Id="rId32" Type="http://schemas.openxmlformats.org/officeDocument/2006/relationships/tags" Target="../tags/tag48.xml"/><Relationship Id="rId37" Type="http://schemas.openxmlformats.org/officeDocument/2006/relationships/tags" Target="../tags/tag53.xml"/><Relationship Id="rId40" Type="http://schemas.openxmlformats.org/officeDocument/2006/relationships/tags" Target="../tags/tag56.xml"/><Relationship Id="rId45" Type="http://schemas.openxmlformats.org/officeDocument/2006/relationships/tags" Target="../tags/tag61.xml"/><Relationship Id="rId53" Type="http://schemas.openxmlformats.org/officeDocument/2006/relationships/image" Target="../media/image1.emf"/><Relationship Id="rId5" Type="http://schemas.openxmlformats.org/officeDocument/2006/relationships/tags" Target="../tags/tag21.xml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31" Type="http://schemas.openxmlformats.org/officeDocument/2006/relationships/tags" Target="../tags/tag47.xml"/><Relationship Id="rId44" Type="http://schemas.openxmlformats.org/officeDocument/2006/relationships/tags" Target="../tags/tag60.xml"/><Relationship Id="rId52" Type="http://schemas.openxmlformats.org/officeDocument/2006/relationships/oleObject" Target="../embeddings/oleObject2.bin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Relationship Id="rId27" Type="http://schemas.openxmlformats.org/officeDocument/2006/relationships/tags" Target="../tags/tag43.xml"/><Relationship Id="rId30" Type="http://schemas.openxmlformats.org/officeDocument/2006/relationships/tags" Target="../tags/tag46.xml"/><Relationship Id="rId35" Type="http://schemas.openxmlformats.org/officeDocument/2006/relationships/tags" Target="../tags/tag51.xml"/><Relationship Id="rId43" Type="http://schemas.openxmlformats.org/officeDocument/2006/relationships/tags" Target="../tags/tag59.xml"/><Relationship Id="rId48" Type="http://schemas.openxmlformats.org/officeDocument/2006/relationships/tags" Target="../tags/tag64.xml"/><Relationship Id="rId8" Type="http://schemas.openxmlformats.org/officeDocument/2006/relationships/tags" Target="../tags/tag24.xml"/><Relationship Id="rId51" Type="http://schemas.openxmlformats.org/officeDocument/2006/relationships/slideLayout" Target="../slideLayouts/slideLayout1.xml"/><Relationship Id="rId3" Type="http://schemas.openxmlformats.org/officeDocument/2006/relationships/tags" Target="../tags/tag19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tags" Target="../tags/tag41.xml"/><Relationship Id="rId33" Type="http://schemas.openxmlformats.org/officeDocument/2006/relationships/tags" Target="../tags/tag49.xml"/><Relationship Id="rId38" Type="http://schemas.openxmlformats.org/officeDocument/2006/relationships/tags" Target="../tags/tag54.xml"/><Relationship Id="rId46" Type="http://schemas.openxmlformats.org/officeDocument/2006/relationships/tags" Target="../tags/tag62.xml"/><Relationship Id="rId20" Type="http://schemas.openxmlformats.org/officeDocument/2006/relationships/tags" Target="../tags/tag36.xml"/><Relationship Id="rId41" Type="http://schemas.openxmlformats.org/officeDocument/2006/relationships/tags" Target="../tags/tag57.xml"/><Relationship Id="rId54" Type="http://schemas.openxmlformats.org/officeDocument/2006/relationships/chart" Target="../charts/chart1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5" Type="http://schemas.openxmlformats.org/officeDocument/2006/relationships/tags" Target="../tags/tag31.xml"/><Relationship Id="rId23" Type="http://schemas.openxmlformats.org/officeDocument/2006/relationships/tags" Target="../tags/tag39.xml"/><Relationship Id="rId28" Type="http://schemas.openxmlformats.org/officeDocument/2006/relationships/tags" Target="../tags/tag44.xml"/><Relationship Id="rId36" Type="http://schemas.openxmlformats.org/officeDocument/2006/relationships/tags" Target="../tags/tag52.xml"/><Relationship Id="rId49" Type="http://schemas.openxmlformats.org/officeDocument/2006/relationships/tags" Target="../tags/tag65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476.xml"/><Relationship Id="rId18" Type="http://schemas.openxmlformats.org/officeDocument/2006/relationships/tags" Target="../tags/tag481.xml"/><Relationship Id="rId26" Type="http://schemas.openxmlformats.org/officeDocument/2006/relationships/tags" Target="../tags/tag489.xml"/><Relationship Id="rId21" Type="http://schemas.openxmlformats.org/officeDocument/2006/relationships/tags" Target="../tags/tag484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470.xml"/><Relationship Id="rId12" Type="http://schemas.openxmlformats.org/officeDocument/2006/relationships/tags" Target="../tags/tag475.xml"/><Relationship Id="rId17" Type="http://schemas.openxmlformats.org/officeDocument/2006/relationships/tags" Target="../tags/tag480.xml"/><Relationship Id="rId25" Type="http://schemas.openxmlformats.org/officeDocument/2006/relationships/tags" Target="../tags/tag488.xml"/><Relationship Id="rId33" Type="http://schemas.openxmlformats.org/officeDocument/2006/relationships/tags" Target="../tags/tag496.xml"/><Relationship Id="rId2" Type="http://schemas.openxmlformats.org/officeDocument/2006/relationships/tags" Target="../tags/tag465.xml"/><Relationship Id="rId16" Type="http://schemas.openxmlformats.org/officeDocument/2006/relationships/tags" Target="../tags/tag479.xml"/><Relationship Id="rId20" Type="http://schemas.openxmlformats.org/officeDocument/2006/relationships/tags" Target="../tags/tag483.xml"/><Relationship Id="rId29" Type="http://schemas.openxmlformats.org/officeDocument/2006/relationships/tags" Target="../tags/tag492.xml"/><Relationship Id="rId1" Type="http://schemas.openxmlformats.org/officeDocument/2006/relationships/tags" Target="../tags/tag464.xml"/><Relationship Id="rId6" Type="http://schemas.openxmlformats.org/officeDocument/2006/relationships/tags" Target="../tags/tag469.xml"/><Relationship Id="rId11" Type="http://schemas.openxmlformats.org/officeDocument/2006/relationships/tags" Target="../tags/tag474.xml"/><Relationship Id="rId24" Type="http://schemas.openxmlformats.org/officeDocument/2006/relationships/tags" Target="../tags/tag487.xml"/><Relationship Id="rId32" Type="http://schemas.openxmlformats.org/officeDocument/2006/relationships/tags" Target="../tags/tag495.xml"/><Relationship Id="rId37" Type="http://schemas.openxmlformats.org/officeDocument/2006/relationships/chart" Target="../charts/chart10.xml"/><Relationship Id="rId5" Type="http://schemas.openxmlformats.org/officeDocument/2006/relationships/tags" Target="../tags/tag468.xml"/><Relationship Id="rId15" Type="http://schemas.openxmlformats.org/officeDocument/2006/relationships/tags" Target="../tags/tag478.xml"/><Relationship Id="rId23" Type="http://schemas.openxmlformats.org/officeDocument/2006/relationships/tags" Target="../tags/tag486.xml"/><Relationship Id="rId28" Type="http://schemas.openxmlformats.org/officeDocument/2006/relationships/tags" Target="../tags/tag491.xml"/><Relationship Id="rId36" Type="http://schemas.openxmlformats.org/officeDocument/2006/relationships/image" Target="../media/image1.emf"/><Relationship Id="rId10" Type="http://schemas.openxmlformats.org/officeDocument/2006/relationships/tags" Target="../tags/tag473.xml"/><Relationship Id="rId19" Type="http://schemas.openxmlformats.org/officeDocument/2006/relationships/tags" Target="../tags/tag482.xml"/><Relationship Id="rId31" Type="http://schemas.openxmlformats.org/officeDocument/2006/relationships/tags" Target="../tags/tag494.xml"/><Relationship Id="rId4" Type="http://schemas.openxmlformats.org/officeDocument/2006/relationships/tags" Target="../tags/tag467.xml"/><Relationship Id="rId9" Type="http://schemas.openxmlformats.org/officeDocument/2006/relationships/tags" Target="../tags/tag472.xml"/><Relationship Id="rId14" Type="http://schemas.openxmlformats.org/officeDocument/2006/relationships/tags" Target="../tags/tag477.xml"/><Relationship Id="rId22" Type="http://schemas.openxmlformats.org/officeDocument/2006/relationships/tags" Target="../tags/tag485.xml"/><Relationship Id="rId27" Type="http://schemas.openxmlformats.org/officeDocument/2006/relationships/tags" Target="../tags/tag490.xml"/><Relationship Id="rId30" Type="http://schemas.openxmlformats.org/officeDocument/2006/relationships/tags" Target="../tags/tag493.xml"/><Relationship Id="rId35" Type="http://schemas.openxmlformats.org/officeDocument/2006/relationships/oleObject" Target="../embeddings/oleObject11.bin"/><Relationship Id="rId8" Type="http://schemas.openxmlformats.org/officeDocument/2006/relationships/tags" Target="../tags/tag471.xml"/><Relationship Id="rId3" Type="http://schemas.openxmlformats.org/officeDocument/2006/relationships/tags" Target="../tags/tag466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509.xml"/><Relationship Id="rId18" Type="http://schemas.openxmlformats.org/officeDocument/2006/relationships/tags" Target="../tags/tag514.xml"/><Relationship Id="rId26" Type="http://schemas.openxmlformats.org/officeDocument/2006/relationships/tags" Target="../tags/tag522.xml"/><Relationship Id="rId21" Type="http://schemas.openxmlformats.org/officeDocument/2006/relationships/tags" Target="../tags/tag517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503.xml"/><Relationship Id="rId12" Type="http://schemas.openxmlformats.org/officeDocument/2006/relationships/tags" Target="../tags/tag508.xml"/><Relationship Id="rId17" Type="http://schemas.openxmlformats.org/officeDocument/2006/relationships/tags" Target="../tags/tag513.xml"/><Relationship Id="rId25" Type="http://schemas.openxmlformats.org/officeDocument/2006/relationships/tags" Target="../tags/tag521.xml"/><Relationship Id="rId33" Type="http://schemas.openxmlformats.org/officeDocument/2006/relationships/tags" Target="../tags/tag529.xml"/><Relationship Id="rId2" Type="http://schemas.openxmlformats.org/officeDocument/2006/relationships/tags" Target="../tags/tag498.xml"/><Relationship Id="rId16" Type="http://schemas.openxmlformats.org/officeDocument/2006/relationships/tags" Target="../tags/tag512.xml"/><Relationship Id="rId20" Type="http://schemas.openxmlformats.org/officeDocument/2006/relationships/tags" Target="../tags/tag516.xml"/><Relationship Id="rId29" Type="http://schemas.openxmlformats.org/officeDocument/2006/relationships/tags" Target="../tags/tag525.xml"/><Relationship Id="rId1" Type="http://schemas.openxmlformats.org/officeDocument/2006/relationships/tags" Target="../tags/tag497.xml"/><Relationship Id="rId6" Type="http://schemas.openxmlformats.org/officeDocument/2006/relationships/tags" Target="../tags/tag502.xml"/><Relationship Id="rId11" Type="http://schemas.openxmlformats.org/officeDocument/2006/relationships/tags" Target="../tags/tag507.xml"/><Relationship Id="rId24" Type="http://schemas.openxmlformats.org/officeDocument/2006/relationships/tags" Target="../tags/tag520.xml"/><Relationship Id="rId32" Type="http://schemas.openxmlformats.org/officeDocument/2006/relationships/tags" Target="../tags/tag528.xml"/><Relationship Id="rId37" Type="http://schemas.openxmlformats.org/officeDocument/2006/relationships/chart" Target="../charts/chart11.xml"/><Relationship Id="rId5" Type="http://schemas.openxmlformats.org/officeDocument/2006/relationships/tags" Target="../tags/tag501.xml"/><Relationship Id="rId15" Type="http://schemas.openxmlformats.org/officeDocument/2006/relationships/tags" Target="../tags/tag511.xml"/><Relationship Id="rId23" Type="http://schemas.openxmlformats.org/officeDocument/2006/relationships/tags" Target="../tags/tag519.xml"/><Relationship Id="rId28" Type="http://schemas.openxmlformats.org/officeDocument/2006/relationships/tags" Target="../tags/tag524.xml"/><Relationship Id="rId36" Type="http://schemas.openxmlformats.org/officeDocument/2006/relationships/image" Target="../media/image1.emf"/><Relationship Id="rId10" Type="http://schemas.openxmlformats.org/officeDocument/2006/relationships/tags" Target="../tags/tag506.xml"/><Relationship Id="rId19" Type="http://schemas.openxmlformats.org/officeDocument/2006/relationships/tags" Target="../tags/tag515.xml"/><Relationship Id="rId31" Type="http://schemas.openxmlformats.org/officeDocument/2006/relationships/tags" Target="../tags/tag527.xml"/><Relationship Id="rId4" Type="http://schemas.openxmlformats.org/officeDocument/2006/relationships/tags" Target="../tags/tag500.xml"/><Relationship Id="rId9" Type="http://schemas.openxmlformats.org/officeDocument/2006/relationships/tags" Target="../tags/tag505.xml"/><Relationship Id="rId14" Type="http://schemas.openxmlformats.org/officeDocument/2006/relationships/tags" Target="../tags/tag510.xml"/><Relationship Id="rId22" Type="http://schemas.openxmlformats.org/officeDocument/2006/relationships/tags" Target="../tags/tag518.xml"/><Relationship Id="rId27" Type="http://schemas.openxmlformats.org/officeDocument/2006/relationships/tags" Target="../tags/tag523.xml"/><Relationship Id="rId30" Type="http://schemas.openxmlformats.org/officeDocument/2006/relationships/tags" Target="../tags/tag526.xml"/><Relationship Id="rId35" Type="http://schemas.openxmlformats.org/officeDocument/2006/relationships/oleObject" Target="../embeddings/oleObject12.bin"/><Relationship Id="rId8" Type="http://schemas.openxmlformats.org/officeDocument/2006/relationships/tags" Target="../tags/tag504.xml"/><Relationship Id="rId3" Type="http://schemas.openxmlformats.org/officeDocument/2006/relationships/tags" Target="../tags/tag499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542.xml"/><Relationship Id="rId18" Type="http://schemas.openxmlformats.org/officeDocument/2006/relationships/tags" Target="../tags/tag547.xml"/><Relationship Id="rId26" Type="http://schemas.openxmlformats.org/officeDocument/2006/relationships/tags" Target="../tags/tag555.xml"/><Relationship Id="rId21" Type="http://schemas.openxmlformats.org/officeDocument/2006/relationships/tags" Target="../tags/tag550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536.xml"/><Relationship Id="rId12" Type="http://schemas.openxmlformats.org/officeDocument/2006/relationships/tags" Target="../tags/tag541.xml"/><Relationship Id="rId17" Type="http://schemas.openxmlformats.org/officeDocument/2006/relationships/tags" Target="../tags/tag546.xml"/><Relationship Id="rId25" Type="http://schemas.openxmlformats.org/officeDocument/2006/relationships/tags" Target="../tags/tag554.xml"/><Relationship Id="rId33" Type="http://schemas.openxmlformats.org/officeDocument/2006/relationships/tags" Target="../tags/tag562.xml"/><Relationship Id="rId2" Type="http://schemas.openxmlformats.org/officeDocument/2006/relationships/tags" Target="../tags/tag531.xml"/><Relationship Id="rId16" Type="http://schemas.openxmlformats.org/officeDocument/2006/relationships/tags" Target="../tags/tag545.xml"/><Relationship Id="rId20" Type="http://schemas.openxmlformats.org/officeDocument/2006/relationships/tags" Target="../tags/tag549.xml"/><Relationship Id="rId29" Type="http://schemas.openxmlformats.org/officeDocument/2006/relationships/tags" Target="../tags/tag558.xml"/><Relationship Id="rId1" Type="http://schemas.openxmlformats.org/officeDocument/2006/relationships/tags" Target="../tags/tag530.xml"/><Relationship Id="rId6" Type="http://schemas.openxmlformats.org/officeDocument/2006/relationships/tags" Target="../tags/tag535.xml"/><Relationship Id="rId11" Type="http://schemas.openxmlformats.org/officeDocument/2006/relationships/tags" Target="../tags/tag540.xml"/><Relationship Id="rId24" Type="http://schemas.openxmlformats.org/officeDocument/2006/relationships/tags" Target="../tags/tag553.xml"/><Relationship Id="rId32" Type="http://schemas.openxmlformats.org/officeDocument/2006/relationships/tags" Target="../tags/tag561.xml"/><Relationship Id="rId37" Type="http://schemas.openxmlformats.org/officeDocument/2006/relationships/chart" Target="../charts/chart12.xml"/><Relationship Id="rId5" Type="http://schemas.openxmlformats.org/officeDocument/2006/relationships/tags" Target="../tags/tag534.xml"/><Relationship Id="rId15" Type="http://schemas.openxmlformats.org/officeDocument/2006/relationships/tags" Target="../tags/tag544.xml"/><Relationship Id="rId23" Type="http://schemas.openxmlformats.org/officeDocument/2006/relationships/tags" Target="../tags/tag552.xml"/><Relationship Id="rId28" Type="http://schemas.openxmlformats.org/officeDocument/2006/relationships/tags" Target="../tags/tag557.xml"/><Relationship Id="rId36" Type="http://schemas.openxmlformats.org/officeDocument/2006/relationships/image" Target="../media/image1.emf"/><Relationship Id="rId10" Type="http://schemas.openxmlformats.org/officeDocument/2006/relationships/tags" Target="../tags/tag539.xml"/><Relationship Id="rId19" Type="http://schemas.openxmlformats.org/officeDocument/2006/relationships/tags" Target="../tags/tag548.xml"/><Relationship Id="rId31" Type="http://schemas.openxmlformats.org/officeDocument/2006/relationships/tags" Target="../tags/tag560.xml"/><Relationship Id="rId4" Type="http://schemas.openxmlformats.org/officeDocument/2006/relationships/tags" Target="../tags/tag533.xml"/><Relationship Id="rId9" Type="http://schemas.openxmlformats.org/officeDocument/2006/relationships/tags" Target="../tags/tag538.xml"/><Relationship Id="rId14" Type="http://schemas.openxmlformats.org/officeDocument/2006/relationships/tags" Target="../tags/tag543.xml"/><Relationship Id="rId22" Type="http://schemas.openxmlformats.org/officeDocument/2006/relationships/tags" Target="../tags/tag551.xml"/><Relationship Id="rId27" Type="http://schemas.openxmlformats.org/officeDocument/2006/relationships/tags" Target="../tags/tag556.xml"/><Relationship Id="rId30" Type="http://schemas.openxmlformats.org/officeDocument/2006/relationships/tags" Target="../tags/tag559.xml"/><Relationship Id="rId35" Type="http://schemas.openxmlformats.org/officeDocument/2006/relationships/oleObject" Target="../embeddings/oleObject13.bin"/><Relationship Id="rId8" Type="http://schemas.openxmlformats.org/officeDocument/2006/relationships/tags" Target="../tags/tag537.xml"/><Relationship Id="rId3" Type="http://schemas.openxmlformats.org/officeDocument/2006/relationships/tags" Target="../tags/tag532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575.xml"/><Relationship Id="rId18" Type="http://schemas.openxmlformats.org/officeDocument/2006/relationships/tags" Target="../tags/tag580.xml"/><Relationship Id="rId26" Type="http://schemas.openxmlformats.org/officeDocument/2006/relationships/tags" Target="../tags/tag588.xml"/><Relationship Id="rId21" Type="http://schemas.openxmlformats.org/officeDocument/2006/relationships/tags" Target="../tags/tag583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569.xml"/><Relationship Id="rId12" Type="http://schemas.openxmlformats.org/officeDocument/2006/relationships/tags" Target="../tags/tag574.xml"/><Relationship Id="rId17" Type="http://schemas.openxmlformats.org/officeDocument/2006/relationships/tags" Target="../tags/tag579.xml"/><Relationship Id="rId25" Type="http://schemas.openxmlformats.org/officeDocument/2006/relationships/tags" Target="../tags/tag587.xml"/><Relationship Id="rId33" Type="http://schemas.openxmlformats.org/officeDocument/2006/relationships/tags" Target="../tags/tag595.xml"/><Relationship Id="rId2" Type="http://schemas.openxmlformats.org/officeDocument/2006/relationships/tags" Target="../tags/tag564.xml"/><Relationship Id="rId16" Type="http://schemas.openxmlformats.org/officeDocument/2006/relationships/tags" Target="../tags/tag578.xml"/><Relationship Id="rId20" Type="http://schemas.openxmlformats.org/officeDocument/2006/relationships/tags" Target="../tags/tag582.xml"/><Relationship Id="rId29" Type="http://schemas.openxmlformats.org/officeDocument/2006/relationships/tags" Target="../tags/tag591.xml"/><Relationship Id="rId1" Type="http://schemas.openxmlformats.org/officeDocument/2006/relationships/tags" Target="../tags/tag563.xml"/><Relationship Id="rId6" Type="http://schemas.openxmlformats.org/officeDocument/2006/relationships/tags" Target="../tags/tag568.xml"/><Relationship Id="rId11" Type="http://schemas.openxmlformats.org/officeDocument/2006/relationships/tags" Target="../tags/tag573.xml"/><Relationship Id="rId24" Type="http://schemas.openxmlformats.org/officeDocument/2006/relationships/tags" Target="../tags/tag586.xml"/><Relationship Id="rId32" Type="http://schemas.openxmlformats.org/officeDocument/2006/relationships/tags" Target="../tags/tag594.xml"/><Relationship Id="rId37" Type="http://schemas.openxmlformats.org/officeDocument/2006/relationships/chart" Target="../charts/chart13.xml"/><Relationship Id="rId5" Type="http://schemas.openxmlformats.org/officeDocument/2006/relationships/tags" Target="../tags/tag567.xml"/><Relationship Id="rId15" Type="http://schemas.openxmlformats.org/officeDocument/2006/relationships/tags" Target="../tags/tag577.xml"/><Relationship Id="rId23" Type="http://schemas.openxmlformats.org/officeDocument/2006/relationships/tags" Target="../tags/tag585.xml"/><Relationship Id="rId28" Type="http://schemas.openxmlformats.org/officeDocument/2006/relationships/tags" Target="../tags/tag590.xml"/><Relationship Id="rId36" Type="http://schemas.openxmlformats.org/officeDocument/2006/relationships/image" Target="../media/image1.emf"/><Relationship Id="rId10" Type="http://schemas.openxmlformats.org/officeDocument/2006/relationships/tags" Target="../tags/tag572.xml"/><Relationship Id="rId19" Type="http://schemas.openxmlformats.org/officeDocument/2006/relationships/tags" Target="../tags/tag581.xml"/><Relationship Id="rId31" Type="http://schemas.openxmlformats.org/officeDocument/2006/relationships/tags" Target="../tags/tag593.xml"/><Relationship Id="rId4" Type="http://schemas.openxmlformats.org/officeDocument/2006/relationships/tags" Target="../tags/tag566.xml"/><Relationship Id="rId9" Type="http://schemas.openxmlformats.org/officeDocument/2006/relationships/tags" Target="../tags/tag571.xml"/><Relationship Id="rId14" Type="http://schemas.openxmlformats.org/officeDocument/2006/relationships/tags" Target="../tags/tag576.xml"/><Relationship Id="rId22" Type="http://schemas.openxmlformats.org/officeDocument/2006/relationships/tags" Target="../tags/tag584.xml"/><Relationship Id="rId27" Type="http://schemas.openxmlformats.org/officeDocument/2006/relationships/tags" Target="../tags/tag589.xml"/><Relationship Id="rId30" Type="http://schemas.openxmlformats.org/officeDocument/2006/relationships/tags" Target="../tags/tag592.xml"/><Relationship Id="rId35" Type="http://schemas.openxmlformats.org/officeDocument/2006/relationships/oleObject" Target="../embeddings/oleObject14.bin"/><Relationship Id="rId8" Type="http://schemas.openxmlformats.org/officeDocument/2006/relationships/tags" Target="../tags/tag570.xml"/><Relationship Id="rId3" Type="http://schemas.openxmlformats.org/officeDocument/2006/relationships/tags" Target="../tags/tag565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79.xml"/><Relationship Id="rId18" Type="http://schemas.openxmlformats.org/officeDocument/2006/relationships/tags" Target="../tags/tag84.xml"/><Relationship Id="rId26" Type="http://schemas.openxmlformats.org/officeDocument/2006/relationships/tags" Target="../tags/tag92.xml"/><Relationship Id="rId39" Type="http://schemas.openxmlformats.org/officeDocument/2006/relationships/chart" Target="../charts/chart2.xml"/><Relationship Id="rId21" Type="http://schemas.openxmlformats.org/officeDocument/2006/relationships/tags" Target="../tags/tag87.xml"/><Relationship Id="rId34" Type="http://schemas.openxmlformats.org/officeDocument/2006/relationships/tags" Target="../tags/tag100.xml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tags" Target="../tags/tag83.xml"/><Relationship Id="rId25" Type="http://schemas.openxmlformats.org/officeDocument/2006/relationships/tags" Target="../tags/tag91.xml"/><Relationship Id="rId33" Type="http://schemas.openxmlformats.org/officeDocument/2006/relationships/tags" Target="../tags/tag99.xml"/><Relationship Id="rId38" Type="http://schemas.openxmlformats.org/officeDocument/2006/relationships/image" Target="../media/image1.emf"/><Relationship Id="rId2" Type="http://schemas.openxmlformats.org/officeDocument/2006/relationships/tags" Target="../tags/tag68.xml"/><Relationship Id="rId16" Type="http://schemas.openxmlformats.org/officeDocument/2006/relationships/tags" Target="../tags/tag82.xml"/><Relationship Id="rId20" Type="http://schemas.openxmlformats.org/officeDocument/2006/relationships/tags" Target="../tags/tag86.xml"/><Relationship Id="rId29" Type="http://schemas.openxmlformats.org/officeDocument/2006/relationships/tags" Target="../tags/tag95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24" Type="http://schemas.openxmlformats.org/officeDocument/2006/relationships/tags" Target="../tags/tag90.xml"/><Relationship Id="rId32" Type="http://schemas.openxmlformats.org/officeDocument/2006/relationships/tags" Target="../tags/tag98.xml"/><Relationship Id="rId37" Type="http://schemas.openxmlformats.org/officeDocument/2006/relationships/oleObject" Target="../embeddings/oleObject3.bin"/><Relationship Id="rId5" Type="http://schemas.openxmlformats.org/officeDocument/2006/relationships/tags" Target="../tags/tag71.xml"/><Relationship Id="rId15" Type="http://schemas.openxmlformats.org/officeDocument/2006/relationships/tags" Target="../tags/tag81.xml"/><Relationship Id="rId23" Type="http://schemas.openxmlformats.org/officeDocument/2006/relationships/tags" Target="../tags/tag89.xml"/><Relationship Id="rId28" Type="http://schemas.openxmlformats.org/officeDocument/2006/relationships/tags" Target="../tags/tag94.xml"/><Relationship Id="rId36" Type="http://schemas.openxmlformats.org/officeDocument/2006/relationships/slideLayout" Target="../slideLayouts/slideLayout1.xml"/><Relationship Id="rId10" Type="http://schemas.openxmlformats.org/officeDocument/2006/relationships/tags" Target="../tags/tag76.xml"/><Relationship Id="rId19" Type="http://schemas.openxmlformats.org/officeDocument/2006/relationships/tags" Target="../tags/tag85.xml"/><Relationship Id="rId31" Type="http://schemas.openxmlformats.org/officeDocument/2006/relationships/tags" Target="../tags/tag97.xml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Relationship Id="rId22" Type="http://schemas.openxmlformats.org/officeDocument/2006/relationships/tags" Target="../tags/tag88.xml"/><Relationship Id="rId27" Type="http://schemas.openxmlformats.org/officeDocument/2006/relationships/tags" Target="../tags/tag93.xml"/><Relationship Id="rId30" Type="http://schemas.openxmlformats.org/officeDocument/2006/relationships/tags" Target="../tags/tag96.xml"/><Relationship Id="rId35" Type="http://schemas.openxmlformats.org/officeDocument/2006/relationships/tags" Target="../tags/tag101.xml"/><Relationship Id="rId8" Type="http://schemas.openxmlformats.org/officeDocument/2006/relationships/tags" Target="../tags/tag74.xml"/><Relationship Id="rId3" Type="http://schemas.openxmlformats.org/officeDocument/2006/relationships/tags" Target="../tags/tag69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14.xml"/><Relationship Id="rId18" Type="http://schemas.openxmlformats.org/officeDocument/2006/relationships/tags" Target="../tags/tag119.xml"/><Relationship Id="rId26" Type="http://schemas.openxmlformats.org/officeDocument/2006/relationships/tags" Target="../tags/tag127.xml"/><Relationship Id="rId39" Type="http://schemas.openxmlformats.org/officeDocument/2006/relationships/tags" Target="../tags/tag140.xml"/><Relationship Id="rId21" Type="http://schemas.openxmlformats.org/officeDocument/2006/relationships/tags" Target="../tags/tag122.xml"/><Relationship Id="rId34" Type="http://schemas.openxmlformats.org/officeDocument/2006/relationships/tags" Target="../tags/tag135.xml"/><Relationship Id="rId42" Type="http://schemas.openxmlformats.org/officeDocument/2006/relationships/tags" Target="../tags/tag143.xml"/><Relationship Id="rId47" Type="http://schemas.openxmlformats.org/officeDocument/2006/relationships/tags" Target="../tags/tag148.xml"/><Relationship Id="rId50" Type="http://schemas.openxmlformats.org/officeDocument/2006/relationships/tags" Target="../tags/tag151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6" Type="http://schemas.openxmlformats.org/officeDocument/2006/relationships/tags" Target="../tags/tag117.xml"/><Relationship Id="rId29" Type="http://schemas.openxmlformats.org/officeDocument/2006/relationships/tags" Target="../tags/tag130.xml"/><Relationship Id="rId11" Type="http://schemas.openxmlformats.org/officeDocument/2006/relationships/tags" Target="../tags/tag112.xml"/><Relationship Id="rId24" Type="http://schemas.openxmlformats.org/officeDocument/2006/relationships/tags" Target="../tags/tag125.xml"/><Relationship Id="rId32" Type="http://schemas.openxmlformats.org/officeDocument/2006/relationships/tags" Target="../tags/tag133.xml"/><Relationship Id="rId37" Type="http://schemas.openxmlformats.org/officeDocument/2006/relationships/tags" Target="../tags/tag138.xml"/><Relationship Id="rId40" Type="http://schemas.openxmlformats.org/officeDocument/2006/relationships/tags" Target="../tags/tag141.xml"/><Relationship Id="rId45" Type="http://schemas.openxmlformats.org/officeDocument/2006/relationships/tags" Target="../tags/tag146.xml"/><Relationship Id="rId53" Type="http://schemas.openxmlformats.org/officeDocument/2006/relationships/image" Target="../media/image1.emf"/><Relationship Id="rId5" Type="http://schemas.openxmlformats.org/officeDocument/2006/relationships/tags" Target="../tags/tag106.xml"/><Relationship Id="rId10" Type="http://schemas.openxmlformats.org/officeDocument/2006/relationships/tags" Target="../tags/tag111.xml"/><Relationship Id="rId19" Type="http://schemas.openxmlformats.org/officeDocument/2006/relationships/tags" Target="../tags/tag120.xml"/><Relationship Id="rId31" Type="http://schemas.openxmlformats.org/officeDocument/2006/relationships/tags" Target="../tags/tag132.xml"/><Relationship Id="rId44" Type="http://schemas.openxmlformats.org/officeDocument/2006/relationships/tags" Target="../tags/tag145.xml"/><Relationship Id="rId52" Type="http://schemas.openxmlformats.org/officeDocument/2006/relationships/oleObject" Target="../embeddings/oleObject4.bin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tags" Target="../tags/tag115.xml"/><Relationship Id="rId22" Type="http://schemas.openxmlformats.org/officeDocument/2006/relationships/tags" Target="../tags/tag123.xml"/><Relationship Id="rId27" Type="http://schemas.openxmlformats.org/officeDocument/2006/relationships/tags" Target="../tags/tag128.xml"/><Relationship Id="rId30" Type="http://schemas.openxmlformats.org/officeDocument/2006/relationships/tags" Target="../tags/tag131.xml"/><Relationship Id="rId35" Type="http://schemas.openxmlformats.org/officeDocument/2006/relationships/tags" Target="../tags/tag136.xml"/><Relationship Id="rId43" Type="http://schemas.openxmlformats.org/officeDocument/2006/relationships/tags" Target="../tags/tag144.xml"/><Relationship Id="rId48" Type="http://schemas.openxmlformats.org/officeDocument/2006/relationships/tags" Target="../tags/tag149.xml"/><Relationship Id="rId8" Type="http://schemas.openxmlformats.org/officeDocument/2006/relationships/tags" Target="../tags/tag109.xml"/><Relationship Id="rId51" Type="http://schemas.openxmlformats.org/officeDocument/2006/relationships/slideLayout" Target="../slideLayouts/slideLayout1.xml"/><Relationship Id="rId3" Type="http://schemas.openxmlformats.org/officeDocument/2006/relationships/tags" Target="../tags/tag104.xml"/><Relationship Id="rId12" Type="http://schemas.openxmlformats.org/officeDocument/2006/relationships/tags" Target="../tags/tag113.xml"/><Relationship Id="rId17" Type="http://schemas.openxmlformats.org/officeDocument/2006/relationships/tags" Target="../tags/tag118.xml"/><Relationship Id="rId25" Type="http://schemas.openxmlformats.org/officeDocument/2006/relationships/tags" Target="../tags/tag126.xml"/><Relationship Id="rId33" Type="http://schemas.openxmlformats.org/officeDocument/2006/relationships/tags" Target="../tags/tag134.xml"/><Relationship Id="rId38" Type="http://schemas.openxmlformats.org/officeDocument/2006/relationships/tags" Target="../tags/tag139.xml"/><Relationship Id="rId46" Type="http://schemas.openxmlformats.org/officeDocument/2006/relationships/tags" Target="../tags/tag147.xml"/><Relationship Id="rId20" Type="http://schemas.openxmlformats.org/officeDocument/2006/relationships/tags" Target="../tags/tag121.xml"/><Relationship Id="rId41" Type="http://schemas.openxmlformats.org/officeDocument/2006/relationships/tags" Target="../tags/tag142.xml"/><Relationship Id="rId54" Type="http://schemas.openxmlformats.org/officeDocument/2006/relationships/chart" Target="../charts/chart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5" Type="http://schemas.openxmlformats.org/officeDocument/2006/relationships/tags" Target="../tags/tag116.xml"/><Relationship Id="rId23" Type="http://schemas.openxmlformats.org/officeDocument/2006/relationships/tags" Target="../tags/tag124.xml"/><Relationship Id="rId28" Type="http://schemas.openxmlformats.org/officeDocument/2006/relationships/tags" Target="../tags/tag129.xml"/><Relationship Id="rId36" Type="http://schemas.openxmlformats.org/officeDocument/2006/relationships/tags" Target="../tags/tag137.xml"/><Relationship Id="rId49" Type="http://schemas.openxmlformats.org/officeDocument/2006/relationships/tags" Target="../tags/tag150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64.xml"/><Relationship Id="rId18" Type="http://schemas.openxmlformats.org/officeDocument/2006/relationships/tags" Target="../tags/tag169.xml"/><Relationship Id="rId26" Type="http://schemas.openxmlformats.org/officeDocument/2006/relationships/tags" Target="../tags/tag177.xml"/><Relationship Id="rId3" Type="http://schemas.openxmlformats.org/officeDocument/2006/relationships/tags" Target="../tags/tag154.xml"/><Relationship Id="rId21" Type="http://schemas.openxmlformats.org/officeDocument/2006/relationships/tags" Target="../tags/tag172.xml"/><Relationship Id="rId7" Type="http://schemas.openxmlformats.org/officeDocument/2006/relationships/tags" Target="../tags/tag158.xml"/><Relationship Id="rId12" Type="http://schemas.openxmlformats.org/officeDocument/2006/relationships/tags" Target="../tags/tag163.xml"/><Relationship Id="rId17" Type="http://schemas.openxmlformats.org/officeDocument/2006/relationships/tags" Target="../tags/tag168.xml"/><Relationship Id="rId25" Type="http://schemas.openxmlformats.org/officeDocument/2006/relationships/tags" Target="../tags/tag176.xml"/><Relationship Id="rId33" Type="http://schemas.openxmlformats.org/officeDocument/2006/relationships/chart" Target="../charts/chart4.xml"/><Relationship Id="rId2" Type="http://schemas.openxmlformats.org/officeDocument/2006/relationships/tags" Target="../tags/tag153.xml"/><Relationship Id="rId16" Type="http://schemas.openxmlformats.org/officeDocument/2006/relationships/tags" Target="../tags/tag167.xml"/><Relationship Id="rId20" Type="http://schemas.openxmlformats.org/officeDocument/2006/relationships/tags" Target="../tags/tag171.xml"/><Relationship Id="rId29" Type="http://schemas.openxmlformats.org/officeDocument/2006/relationships/tags" Target="../tags/tag180.xml"/><Relationship Id="rId1" Type="http://schemas.openxmlformats.org/officeDocument/2006/relationships/tags" Target="../tags/tag152.xml"/><Relationship Id="rId6" Type="http://schemas.openxmlformats.org/officeDocument/2006/relationships/tags" Target="../tags/tag157.xml"/><Relationship Id="rId11" Type="http://schemas.openxmlformats.org/officeDocument/2006/relationships/tags" Target="../tags/tag162.xml"/><Relationship Id="rId24" Type="http://schemas.openxmlformats.org/officeDocument/2006/relationships/tags" Target="../tags/tag175.xml"/><Relationship Id="rId32" Type="http://schemas.openxmlformats.org/officeDocument/2006/relationships/image" Target="../media/image1.emf"/><Relationship Id="rId5" Type="http://schemas.openxmlformats.org/officeDocument/2006/relationships/tags" Target="../tags/tag156.xml"/><Relationship Id="rId15" Type="http://schemas.openxmlformats.org/officeDocument/2006/relationships/tags" Target="../tags/tag166.xml"/><Relationship Id="rId23" Type="http://schemas.openxmlformats.org/officeDocument/2006/relationships/tags" Target="../tags/tag174.xml"/><Relationship Id="rId28" Type="http://schemas.openxmlformats.org/officeDocument/2006/relationships/tags" Target="../tags/tag179.xml"/><Relationship Id="rId10" Type="http://schemas.openxmlformats.org/officeDocument/2006/relationships/tags" Target="../tags/tag161.xml"/><Relationship Id="rId19" Type="http://schemas.openxmlformats.org/officeDocument/2006/relationships/tags" Target="../tags/tag170.xml"/><Relationship Id="rId31" Type="http://schemas.openxmlformats.org/officeDocument/2006/relationships/oleObject" Target="../embeddings/oleObject5.bin"/><Relationship Id="rId4" Type="http://schemas.openxmlformats.org/officeDocument/2006/relationships/tags" Target="../tags/tag155.xml"/><Relationship Id="rId9" Type="http://schemas.openxmlformats.org/officeDocument/2006/relationships/tags" Target="../tags/tag160.xml"/><Relationship Id="rId14" Type="http://schemas.openxmlformats.org/officeDocument/2006/relationships/tags" Target="../tags/tag165.xml"/><Relationship Id="rId22" Type="http://schemas.openxmlformats.org/officeDocument/2006/relationships/tags" Target="../tags/tag173.xml"/><Relationship Id="rId27" Type="http://schemas.openxmlformats.org/officeDocument/2006/relationships/tags" Target="../tags/tag178.xml"/><Relationship Id="rId30" Type="http://schemas.openxmlformats.org/officeDocument/2006/relationships/slideLayout" Target="../slideLayouts/slideLayout1.xml"/><Relationship Id="rId8" Type="http://schemas.openxmlformats.org/officeDocument/2006/relationships/tags" Target="../tags/tag159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206.xml"/><Relationship Id="rId21" Type="http://schemas.openxmlformats.org/officeDocument/2006/relationships/tags" Target="../tags/tag201.xml"/><Relationship Id="rId42" Type="http://schemas.openxmlformats.org/officeDocument/2006/relationships/tags" Target="../tags/tag222.xml"/><Relationship Id="rId47" Type="http://schemas.openxmlformats.org/officeDocument/2006/relationships/tags" Target="../tags/tag227.xml"/><Relationship Id="rId63" Type="http://schemas.openxmlformats.org/officeDocument/2006/relationships/tags" Target="../tags/tag243.xml"/><Relationship Id="rId68" Type="http://schemas.openxmlformats.org/officeDocument/2006/relationships/tags" Target="../tags/tag248.xml"/><Relationship Id="rId16" Type="http://schemas.openxmlformats.org/officeDocument/2006/relationships/tags" Target="../tags/tag196.xml"/><Relationship Id="rId11" Type="http://schemas.openxmlformats.org/officeDocument/2006/relationships/tags" Target="../tags/tag191.xml"/><Relationship Id="rId32" Type="http://schemas.openxmlformats.org/officeDocument/2006/relationships/tags" Target="../tags/tag212.xml"/><Relationship Id="rId37" Type="http://schemas.openxmlformats.org/officeDocument/2006/relationships/tags" Target="../tags/tag217.xml"/><Relationship Id="rId53" Type="http://schemas.openxmlformats.org/officeDocument/2006/relationships/tags" Target="../tags/tag233.xml"/><Relationship Id="rId58" Type="http://schemas.openxmlformats.org/officeDocument/2006/relationships/tags" Target="../tags/tag238.xml"/><Relationship Id="rId74" Type="http://schemas.openxmlformats.org/officeDocument/2006/relationships/tags" Target="../tags/tag254.xml"/><Relationship Id="rId79" Type="http://schemas.openxmlformats.org/officeDocument/2006/relationships/slideLayout" Target="../slideLayouts/slideLayout1.xml"/><Relationship Id="rId5" Type="http://schemas.openxmlformats.org/officeDocument/2006/relationships/tags" Target="../tags/tag185.xml"/><Relationship Id="rId61" Type="http://schemas.openxmlformats.org/officeDocument/2006/relationships/tags" Target="../tags/tag241.xml"/><Relationship Id="rId82" Type="http://schemas.openxmlformats.org/officeDocument/2006/relationships/chart" Target="../charts/chart5.xml"/><Relationship Id="rId19" Type="http://schemas.openxmlformats.org/officeDocument/2006/relationships/tags" Target="../tags/tag199.xml"/><Relationship Id="rId14" Type="http://schemas.openxmlformats.org/officeDocument/2006/relationships/tags" Target="../tags/tag194.xml"/><Relationship Id="rId22" Type="http://schemas.openxmlformats.org/officeDocument/2006/relationships/tags" Target="../tags/tag202.xml"/><Relationship Id="rId27" Type="http://schemas.openxmlformats.org/officeDocument/2006/relationships/tags" Target="../tags/tag207.xml"/><Relationship Id="rId30" Type="http://schemas.openxmlformats.org/officeDocument/2006/relationships/tags" Target="../tags/tag210.xml"/><Relationship Id="rId35" Type="http://schemas.openxmlformats.org/officeDocument/2006/relationships/tags" Target="../tags/tag215.xml"/><Relationship Id="rId43" Type="http://schemas.openxmlformats.org/officeDocument/2006/relationships/tags" Target="../tags/tag223.xml"/><Relationship Id="rId48" Type="http://schemas.openxmlformats.org/officeDocument/2006/relationships/tags" Target="../tags/tag228.xml"/><Relationship Id="rId56" Type="http://schemas.openxmlformats.org/officeDocument/2006/relationships/tags" Target="../tags/tag236.xml"/><Relationship Id="rId64" Type="http://schemas.openxmlformats.org/officeDocument/2006/relationships/tags" Target="../tags/tag244.xml"/><Relationship Id="rId69" Type="http://schemas.openxmlformats.org/officeDocument/2006/relationships/tags" Target="../tags/tag249.xml"/><Relationship Id="rId77" Type="http://schemas.openxmlformats.org/officeDocument/2006/relationships/tags" Target="../tags/tag257.xml"/><Relationship Id="rId8" Type="http://schemas.openxmlformats.org/officeDocument/2006/relationships/tags" Target="../tags/tag188.xml"/><Relationship Id="rId51" Type="http://schemas.openxmlformats.org/officeDocument/2006/relationships/tags" Target="../tags/tag231.xml"/><Relationship Id="rId72" Type="http://schemas.openxmlformats.org/officeDocument/2006/relationships/tags" Target="../tags/tag252.xml"/><Relationship Id="rId80" Type="http://schemas.openxmlformats.org/officeDocument/2006/relationships/oleObject" Target="../embeddings/oleObject6.bin"/><Relationship Id="rId3" Type="http://schemas.openxmlformats.org/officeDocument/2006/relationships/tags" Target="../tags/tag183.xml"/><Relationship Id="rId12" Type="http://schemas.openxmlformats.org/officeDocument/2006/relationships/tags" Target="../tags/tag192.xml"/><Relationship Id="rId17" Type="http://schemas.openxmlformats.org/officeDocument/2006/relationships/tags" Target="../tags/tag197.xml"/><Relationship Id="rId25" Type="http://schemas.openxmlformats.org/officeDocument/2006/relationships/tags" Target="../tags/tag205.xml"/><Relationship Id="rId33" Type="http://schemas.openxmlformats.org/officeDocument/2006/relationships/tags" Target="../tags/tag213.xml"/><Relationship Id="rId38" Type="http://schemas.openxmlformats.org/officeDocument/2006/relationships/tags" Target="../tags/tag218.xml"/><Relationship Id="rId46" Type="http://schemas.openxmlformats.org/officeDocument/2006/relationships/tags" Target="../tags/tag226.xml"/><Relationship Id="rId59" Type="http://schemas.openxmlformats.org/officeDocument/2006/relationships/tags" Target="../tags/tag239.xml"/><Relationship Id="rId67" Type="http://schemas.openxmlformats.org/officeDocument/2006/relationships/tags" Target="../tags/tag247.xml"/><Relationship Id="rId20" Type="http://schemas.openxmlformats.org/officeDocument/2006/relationships/tags" Target="../tags/tag200.xml"/><Relationship Id="rId41" Type="http://schemas.openxmlformats.org/officeDocument/2006/relationships/tags" Target="../tags/tag221.xml"/><Relationship Id="rId54" Type="http://schemas.openxmlformats.org/officeDocument/2006/relationships/tags" Target="../tags/tag234.xml"/><Relationship Id="rId62" Type="http://schemas.openxmlformats.org/officeDocument/2006/relationships/tags" Target="../tags/tag242.xml"/><Relationship Id="rId70" Type="http://schemas.openxmlformats.org/officeDocument/2006/relationships/tags" Target="../tags/tag250.xml"/><Relationship Id="rId75" Type="http://schemas.openxmlformats.org/officeDocument/2006/relationships/tags" Target="../tags/tag255.xml"/><Relationship Id="rId1" Type="http://schemas.openxmlformats.org/officeDocument/2006/relationships/tags" Target="../tags/tag181.xml"/><Relationship Id="rId6" Type="http://schemas.openxmlformats.org/officeDocument/2006/relationships/tags" Target="../tags/tag186.xml"/><Relationship Id="rId15" Type="http://schemas.openxmlformats.org/officeDocument/2006/relationships/tags" Target="../tags/tag195.xml"/><Relationship Id="rId23" Type="http://schemas.openxmlformats.org/officeDocument/2006/relationships/tags" Target="../tags/tag203.xml"/><Relationship Id="rId28" Type="http://schemas.openxmlformats.org/officeDocument/2006/relationships/tags" Target="../tags/tag208.xml"/><Relationship Id="rId36" Type="http://schemas.openxmlformats.org/officeDocument/2006/relationships/tags" Target="../tags/tag216.xml"/><Relationship Id="rId49" Type="http://schemas.openxmlformats.org/officeDocument/2006/relationships/tags" Target="../tags/tag229.xml"/><Relationship Id="rId57" Type="http://schemas.openxmlformats.org/officeDocument/2006/relationships/tags" Target="../tags/tag237.xml"/><Relationship Id="rId10" Type="http://schemas.openxmlformats.org/officeDocument/2006/relationships/tags" Target="../tags/tag190.xml"/><Relationship Id="rId31" Type="http://schemas.openxmlformats.org/officeDocument/2006/relationships/tags" Target="../tags/tag211.xml"/><Relationship Id="rId44" Type="http://schemas.openxmlformats.org/officeDocument/2006/relationships/tags" Target="../tags/tag224.xml"/><Relationship Id="rId52" Type="http://schemas.openxmlformats.org/officeDocument/2006/relationships/tags" Target="../tags/tag232.xml"/><Relationship Id="rId60" Type="http://schemas.openxmlformats.org/officeDocument/2006/relationships/tags" Target="../tags/tag240.xml"/><Relationship Id="rId65" Type="http://schemas.openxmlformats.org/officeDocument/2006/relationships/tags" Target="../tags/tag245.xml"/><Relationship Id="rId73" Type="http://schemas.openxmlformats.org/officeDocument/2006/relationships/tags" Target="../tags/tag253.xml"/><Relationship Id="rId78" Type="http://schemas.openxmlformats.org/officeDocument/2006/relationships/tags" Target="../tags/tag258.xml"/><Relationship Id="rId81" Type="http://schemas.openxmlformats.org/officeDocument/2006/relationships/image" Target="../media/image1.emf"/><Relationship Id="rId4" Type="http://schemas.openxmlformats.org/officeDocument/2006/relationships/tags" Target="../tags/tag184.xml"/><Relationship Id="rId9" Type="http://schemas.openxmlformats.org/officeDocument/2006/relationships/tags" Target="../tags/tag189.xml"/><Relationship Id="rId13" Type="http://schemas.openxmlformats.org/officeDocument/2006/relationships/tags" Target="../tags/tag193.xml"/><Relationship Id="rId18" Type="http://schemas.openxmlformats.org/officeDocument/2006/relationships/tags" Target="../tags/tag198.xml"/><Relationship Id="rId39" Type="http://schemas.openxmlformats.org/officeDocument/2006/relationships/tags" Target="../tags/tag219.xml"/><Relationship Id="rId34" Type="http://schemas.openxmlformats.org/officeDocument/2006/relationships/tags" Target="../tags/tag214.xml"/><Relationship Id="rId50" Type="http://schemas.openxmlformats.org/officeDocument/2006/relationships/tags" Target="../tags/tag230.xml"/><Relationship Id="rId55" Type="http://schemas.openxmlformats.org/officeDocument/2006/relationships/tags" Target="../tags/tag235.xml"/><Relationship Id="rId76" Type="http://schemas.openxmlformats.org/officeDocument/2006/relationships/tags" Target="../tags/tag256.xml"/><Relationship Id="rId7" Type="http://schemas.openxmlformats.org/officeDocument/2006/relationships/tags" Target="../tags/tag187.xml"/><Relationship Id="rId71" Type="http://schemas.openxmlformats.org/officeDocument/2006/relationships/tags" Target="../tags/tag251.xml"/><Relationship Id="rId2" Type="http://schemas.openxmlformats.org/officeDocument/2006/relationships/tags" Target="../tags/tag182.xml"/><Relationship Id="rId29" Type="http://schemas.openxmlformats.org/officeDocument/2006/relationships/tags" Target="../tags/tag209.xml"/><Relationship Id="rId24" Type="http://schemas.openxmlformats.org/officeDocument/2006/relationships/tags" Target="../tags/tag204.xml"/><Relationship Id="rId40" Type="http://schemas.openxmlformats.org/officeDocument/2006/relationships/tags" Target="../tags/tag220.xml"/><Relationship Id="rId45" Type="http://schemas.openxmlformats.org/officeDocument/2006/relationships/tags" Target="../tags/tag225.xml"/><Relationship Id="rId66" Type="http://schemas.openxmlformats.org/officeDocument/2006/relationships/tags" Target="../tags/tag246.xm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284.xml"/><Relationship Id="rId21" Type="http://schemas.openxmlformats.org/officeDocument/2006/relationships/tags" Target="../tags/tag279.xml"/><Relationship Id="rId42" Type="http://schemas.openxmlformats.org/officeDocument/2006/relationships/tags" Target="../tags/tag300.xml"/><Relationship Id="rId47" Type="http://schemas.openxmlformats.org/officeDocument/2006/relationships/tags" Target="../tags/tag305.xml"/><Relationship Id="rId63" Type="http://schemas.openxmlformats.org/officeDocument/2006/relationships/tags" Target="../tags/tag321.xml"/><Relationship Id="rId68" Type="http://schemas.openxmlformats.org/officeDocument/2006/relationships/tags" Target="../tags/tag326.xml"/><Relationship Id="rId84" Type="http://schemas.openxmlformats.org/officeDocument/2006/relationships/tags" Target="../tags/tag342.xml"/><Relationship Id="rId89" Type="http://schemas.openxmlformats.org/officeDocument/2006/relationships/tags" Target="../tags/tag347.xml"/><Relationship Id="rId16" Type="http://schemas.openxmlformats.org/officeDocument/2006/relationships/tags" Target="../tags/tag274.xml"/><Relationship Id="rId11" Type="http://schemas.openxmlformats.org/officeDocument/2006/relationships/tags" Target="../tags/tag269.xml"/><Relationship Id="rId32" Type="http://schemas.openxmlformats.org/officeDocument/2006/relationships/tags" Target="../tags/tag290.xml"/><Relationship Id="rId37" Type="http://schemas.openxmlformats.org/officeDocument/2006/relationships/tags" Target="../tags/tag295.xml"/><Relationship Id="rId53" Type="http://schemas.openxmlformats.org/officeDocument/2006/relationships/tags" Target="../tags/tag311.xml"/><Relationship Id="rId58" Type="http://schemas.openxmlformats.org/officeDocument/2006/relationships/tags" Target="../tags/tag316.xml"/><Relationship Id="rId74" Type="http://schemas.openxmlformats.org/officeDocument/2006/relationships/tags" Target="../tags/tag332.xml"/><Relationship Id="rId79" Type="http://schemas.openxmlformats.org/officeDocument/2006/relationships/tags" Target="../tags/tag337.xml"/><Relationship Id="rId5" Type="http://schemas.openxmlformats.org/officeDocument/2006/relationships/tags" Target="../tags/tag263.xml"/><Relationship Id="rId90" Type="http://schemas.openxmlformats.org/officeDocument/2006/relationships/slideLayout" Target="../slideLayouts/slideLayout1.xml"/><Relationship Id="rId22" Type="http://schemas.openxmlformats.org/officeDocument/2006/relationships/tags" Target="../tags/tag280.xml"/><Relationship Id="rId27" Type="http://schemas.openxmlformats.org/officeDocument/2006/relationships/tags" Target="../tags/tag285.xml"/><Relationship Id="rId43" Type="http://schemas.openxmlformats.org/officeDocument/2006/relationships/tags" Target="../tags/tag301.xml"/><Relationship Id="rId48" Type="http://schemas.openxmlformats.org/officeDocument/2006/relationships/tags" Target="../tags/tag306.xml"/><Relationship Id="rId64" Type="http://schemas.openxmlformats.org/officeDocument/2006/relationships/tags" Target="../tags/tag322.xml"/><Relationship Id="rId69" Type="http://schemas.openxmlformats.org/officeDocument/2006/relationships/tags" Target="../tags/tag327.xml"/><Relationship Id="rId8" Type="http://schemas.openxmlformats.org/officeDocument/2006/relationships/tags" Target="../tags/tag266.xml"/><Relationship Id="rId51" Type="http://schemas.openxmlformats.org/officeDocument/2006/relationships/tags" Target="../tags/tag309.xml"/><Relationship Id="rId72" Type="http://schemas.openxmlformats.org/officeDocument/2006/relationships/tags" Target="../tags/tag330.xml"/><Relationship Id="rId80" Type="http://schemas.openxmlformats.org/officeDocument/2006/relationships/tags" Target="../tags/tag338.xml"/><Relationship Id="rId85" Type="http://schemas.openxmlformats.org/officeDocument/2006/relationships/tags" Target="../tags/tag343.xml"/><Relationship Id="rId93" Type="http://schemas.openxmlformats.org/officeDocument/2006/relationships/chart" Target="../charts/chart6.xml"/><Relationship Id="rId3" Type="http://schemas.openxmlformats.org/officeDocument/2006/relationships/tags" Target="../tags/tag261.xml"/><Relationship Id="rId12" Type="http://schemas.openxmlformats.org/officeDocument/2006/relationships/tags" Target="../tags/tag270.xml"/><Relationship Id="rId17" Type="http://schemas.openxmlformats.org/officeDocument/2006/relationships/tags" Target="../tags/tag275.xml"/><Relationship Id="rId25" Type="http://schemas.openxmlformats.org/officeDocument/2006/relationships/tags" Target="../tags/tag283.xml"/><Relationship Id="rId33" Type="http://schemas.openxmlformats.org/officeDocument/2006/relationships/tags" Target="../tags/tag291.xml"/><Relationship Id="rId38" Type="http://schemas.openxmlformats.org/officeDocument/2006/relationships/tags" Target="../tags/tag296.xml"/><Relationship Id="rId46" Type="http://schemas.openxmlformats.org/officeDocument/2006/relationships/tags" Target="../tags/tag304.xml"/><Relationship Id="rId59" Type="http://schemas.openxmlformats.org/officeDocument/2006/relationships/tags" Target="../tags/tag317.xml"/><Relationship Id="rId67" Type="http://schemas.openxmlformats.org/officeDocument/2006/relationships/tags" Target="../tags/tag325.xml"/><Relationship Id="rId20" Type="http://schemas.openxmlformats.org/officeDocument/2006/relationships/tags" Target="../tags/tag278.xml"/><Relationship Id="rId41" Type="http://schemas.openxmlformats.org/officeDocument/2006/relationships/tags" Target="../tags/tag299.xml"/><Relationship Id="rId54" Type="http://schemas.openxmlformats.org/officeDocument/2006/relationships/tags" Target="../tags/tag312.xml"/><Relationship Id="rId62" Type="http://schemas.openxmlformats.org/officeDocument/2006/relationships/tags" Target="../tags/tag320.xml"/><Relationship Id="rId70" Type="http://schemas.openxmlformats.org/officeDocument/2006/relationships/tags" Target="../tags/tag328.xml"/><Relationship Id="rId75" Type="http://schemas.openxmlformats.org/officeDocument/2006/relationships/tags" Target="../tags/tag333.xml"/><Relationship Id="rId83" Type="http://schemas.openxmlformats.org/officeDocument/2006/relationships/tags" Target="../tags/tag341.xml"/><Relationship Id="rId88" Type="http://schemas.openxmlformats.org/officeDocument/2006/relationships/tags" Target="../tags/tag346.xml"/><Relationship Id="rId91" Type="http://schemas.openxmlformats.org/officeDocument/2006/relationships/oleObject" Target="../embeddings/oleObject7.bin"/><Relationship Id="rId1" Type="http://schemas.openxmlformats.org/officeDocument/2006/relationships/tags" Target="../tags/tag259.xml"/><Relationship Id="rId6" Type="http://schemas.openxmlformats.org/officeDocument/2006/relationships/tags" Target="../tags/tag264.xml"/><Relationship Id="rId15" Type="http://schemas.openxmlformats.org/officeDocument/2006/relationships/tags" Target="../tags/tag273.xml"/><Relationship Id="rId23" Type="http://schemas.openxmlformats.org/officeDocument/2006/relationships/tags" Target="../tags/tag281.xml"/><Relationship Id="rId28" Type="http://schemas.openxmlformats.org/officeDocument/2006/relationships/tags" Target="../tags/tag286.xml"/><Relationship Id="rId36" Type="http://schemas.openxmlformats.org/officeDocument/2006/relationships/tags" Target="../tags/tag294.xml"/><Relationship Id="rId49" Type="http://schemas.openxmlformats.org/officeDocument/2006/relationships/tags" Target="../tags/tag307.xml"/><Relationship Id="rId57" Type="http://schemas.openxmlformats.org/officeDocument/2006/relationships/tags" Target="../tags/tag315.xml"/><Relationship Id="rId10" Type="http://schemas.openxmlformats.org/officeDocument/2006/relationships/tags" Target="../tags/tag268.xml"/><Relationship Id="rId31" Type="http://schemas.openxmlformats.org/officeDocument/2006/relationships/tags" Target="../tags/tag289.xml"/><Relationship Id="rId44" Type="http://schemas.openxmlformats.org/officeDocument/2006/relationships/tags" Target="../tags/tag302.xml"/><Relationship Id="rId52" Type="http://schemas.openxmlformats.org/officeDocument/2006/relationships/tags" Target="../tags/tag310.xml"/><Relationship Id="rId60" Type="http://schemas.openxmlformats.org/officeDocument/2006/relationships/tags" Target="../tags/tag318.xml"/><Relationship Id="rId65" Type="http://schemas.openxmlformats.org/officeDocument/2006/relationships/tags" Target="../tags/tag323.xml"/><Relationship Id="rId73" Type="http://schemas.openxmlformats.org/officeDocument/2006/relationships/tags" Target="../tags/tag331.xml"/><Relationship Id="rId78" Type="http://schemas.openxmlformats.org/officeDocument/2006/relationships/tags" Target="../tags/tag336.xml"/><Relationship Id="rId81" Type="http://schemas.openxmlformats.org/officeDocument/2006/relationships/tags" Target="../tags/tag339.xml"/><Relationship Id="rId86" Type="http://schemas.openxmlformats.org/officeDocument/2006/relationships/tags" Target="../tags/tag344.xml"/><Relationship Id="rId4" Type="http://schemas.openxmlformats.org/officeDocument/2006/relationships/tags" Target="../tags/tag262.xml"/><Relationship Id="rId9" Type="http://schemas.openxmlformats.org/officeDocument/2006/relationships/tags" Target="../tags/tag267.xml"/><Relationship Id="rId13" Type="http://schemas.openxmlformats.org/officeDocument/2006/relationships/tags" Target="../tags/tag271.xml"/><Relationship Id="rId18" Type="http://schemas.openxmlformats.org/officeDocument/2006/relationships/tags" Target="../tags/tag276.xml"/><Relationship Id="rId39" Type="http://schemas.openxmlformats.org/officeDocument/2006/relationships/tags" Target="../tags/tag297.xml"/><Relationship Id="rId34" Type="http://schemas.openxmlformats.org/officeDocument/2006/relationships/tags" Target="../tags/tag292.xml"/><Relationship Id="rId50" Type="http://schemas.openxmlformats.org/officeDocument/2006/relationships/tags" Target="../tags/tag308.xml"/><Relationship Id="rId55" Type="http://schemas.openxmlformats.org/officeDocument/2006/relationships/tags" Target="../tags/tag313.xml"/><Relationship Id="rId76" Type="http://schemas.openxmlformats.org/officeDocument/2006/relationships/tags" Target="../tags/tag334.xml"/><Relationship Id="rId7" Type="http://schemas.openxmlformats.org/officeDocument/2006/relationships/tags" Target="../tags/tag265.xml"/><Relationship Id="rId71" Type="http://schemas.openxmlformats.org/officeDocument/2006/relationships/tags" Target="../tags/tag329.xml"/><Relationship Id="rId92" Type="http://schemas.openxmlformats.org/officeDocument/2006/relationships/image" Target="../media/image1.emf"/><Relationship Id="rId2" Type="http://schemas.openxmlformats.org/officeDocument/2006/relationships/tags" Target="../tags/tag260.xml"/><Relationship Id="rId29" Type="http://schemas.openxmlformats.org/officeDocument/2006/relationships/tags" Target="../tags/tag287.xml"/><Relationship Id="rId24" Type="http://schemas.openxmlformats.org/officeDocument/2006/relationships/tags" Target="../tags/tag282.xml"/><Relationship Id="rId40" Type="http://schemas.openxmlformats.org/officeDocument/2006/relationships/tags" Target="../tags/tag298.xml"/><Relationship Id="rId45" Type="http://schemas.openxmlformats.org/officeDocument/2006/relationships/tags" Target="../tags/tag303.xml"/><Relationship Id="rId66" Type="http://schemas.openxmlformats.org/officeDocument/2006/relationships/tags" Target="../tags/tag324.xml"/><Relationship Id="rId87" Type="http://schemas.openxmlformats.org/officeDocument/2006/relationships/tags" Target="../tags/tag345.xml"/><Relationship Id="rId61" Type="http://schemas.openxmlformats.org/officeDocument/2006/relationships/tags" Target="../tags/tag319.xml"/><Relationship Id="rId82" Type="http://schemas.openxmlformats.org/officeDocument/2006/relationships/tags" Target="../tags/tag340.xml"/><Relationship Id="rId19" Type="http://schemas.openxmlformats.org/officeDocument/2006/relationships/tags" Target="../tags/tag277.xml"/><Relationship Id="rId14" Type="http://schemas.openxmlformats.org/officeDocument/2006/relationships/tags" Target="../tags/tag272.xml"/><Relationship Id="rId30" Type="http://schemas.openxmlformats.org/officeDocument/2006/relationships/tags" Target="../tags/tag288.xml"/><Relationship Id="rId35" Type="http://schemas.openxmlformats.org/officeDocument/2006/relationships/tags" Target="../tags/tag293.xml"/><Relationship Id="rId56" Type="http://schemas.openxmlformats.org/officeDocument/2006/relationships/tags" Target="../tags/tag314.xml"/><Relationship Id="rId77" Type="http://schemas.openxmlformats.org/officeDocument/2006/relationships/tags" Target="../tags/tag335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60.xml"/><Relationship Id="rId18" Type="http://schemas.openxmlformats.org/officeDocument/2006/relationships/tags" Target="../tags/tag365.xml"/><Relationship Id="rId26" Type="http://schemas.openxmlformats.org/officeDocument/2006/relationships/tags" Target="../tags/tag373.xml"/><Relationship Id="rId39" Type="http://schemas.openxmlformats.org/officeDocument/2006/relationships/tags" Target="../tags/tag386.xml"/><Relationship Id="rId21" Type="http://schemas.openxmlformats.org/officeDocument/2006/relationships/tags" Target="../tags/tag368.xml"/><Relationship Id="rId34" Type="http://schemas.openxmlformats.org/officeDocument/2006/relationships/tags" Target="../tags/tag381.xml"/><Relationship Id="rId42" Type="http://schemas.openxmlformats.org/officeDocument/2006/relationships/tags" Target="../tags/tag389.xml"/><Relationship Id="rId47" Type="http://schemas.openxmlformats.org/officeDocument/2006/relationships/tags" Target="../tags/tag394.xml"/><Relationship Id="rId50" Type="http://schemas.openxmlformats.org/officeDocument/2006/relationships/tags" Target="../tags/tag397.xml"/><Relationship Id="rId7" Type="http://schemas.openxmlformats.org/officeDocument/2006/relationships/tags" Target="../tags/tag354.xml"/><Relationship Id="rId2" Type="http://schemas.openxmlformats.org/officeDocument/2006/relationships/tags" Target="../tags/tag349.xml"/><Relationship Id="rId16" Type="http://schemas.openxmlformats.org/officeDocument/2006/relationships/tags" Target="../tags/tag363.xml"/><Relationship Id="rId29" Type="http://schemas.openxmlformats.org/officeDocument/2006/relationships/tags" Target="../tags/tag376.xml"/><Relationship Id="rId11" Type="http://schemas.openxmlformats.org/officeDocument/2006/relationships/tags" Target="../tags/tag358.xml"/><Relationship Id="rId24" Type="http://schemas.openxmlformats.org/officeDocument/2006/relationships/tags" Target="../tags/tag371.xml"/><Relationship Id="rId32" Type="http://schemas.openxmlformats.org/officeDocument/2006/relationships/tags" Target="../tags/tag379.xml"/><Relationship Id="rId37" Type="http://schemas.openxmlformats.org/officeDocument/2006/relationships/tags" Target="../tags/tag384.xml"/><Relationship Id="rId40" Type="http://schemas.openxmlformats.org/officeDocument/2006/relationships/tags" Target="../tags/tag387.xml"/><Relationship Id="rId45" Type="http://schemas.openxmlformats.org/officeDocument/2006/relationships/tags" Target="../tags/tag392.xml"/><Relationship Id="rId53" Type="http://schemas.openxmlformats.org/officeDocument/2006/relationships/image" Target="../media/image1.emf"/><Relationship Id="rId5" Type="http://schemas.openxmlformats.org/officeDocument/2006/relationships/tags" Target="../tags/tag352.xml"/><Relationship Id="rId10" Type="http://schemas.openxmlformats.org/officeDocument/2006/relationships/tags" Target="../tags/tag357.xml"/><Relationship Id="rId19" Type="http://schemas.openxmlformats.org/officeDocument/2006/relationships/tags" Target="../tags/tag366.xml"/><Relationship Id="rId31" Type="http://schemas.openxmlformats.org/officeDocument/2006/relationships/tags" Target="../tags/tag378.xml"/><Relationship Id="rId44" Type="http://schemas.openxmlformats.org/officeDocument/2006/relationships/tags" Target="../tags/tag391.xml"/><Relationship Id="rId52" Type="http://schemas.openxmlformats.org/officeDocument/2006/relationships/oleObject" Target="../embeddings/oleObject8.bin"/><Relationship Id="rId4" Type="http://schemas.openxmlformats.org/officeDocument/2006/relationships/tags" Target="../tags/tag351.xml"/><Relationship Id="rId9" Type="http://schemas.openxmlformats.org/officeDocument/2006/relationships/tags" Target="../tags/tag356.xml"/><Relationship Id="rId14" Type="http://schemas.openxmlformats.org/officeDocument/2006/relationships/tags" Target="../tags/tag361.xml"/><Relationship Id="rId22" Type="http://schemas.openxmlformats.org/officeDocument/2006/relationships/tags" Target="../tags/tag369.xml"/><Relationship Id="rId27" Type="http://schemas.openxmlformats.org/officeDocument/2006/relationships/tags" Target="../tags/tag374.xml"/><Relationship Id="rId30" Type="http://schemas.openxmlformats.org/officeDocument/2006/relationships/tags" Target="../tags/tag377.xml"/><Relationship Id="rId35" Type="http://schemas.openxmlformats.org/officeDocument/2006/relationships/tags" Target="../tags/tag382.xml"/><Relationship Id="rId43" Type="http://schemas.openxmlformats.org/officeDocument/2006/relationships/tags" Target="../tags/tag390.xml"/><Relationship Id="rId48" Type="http://schemas.openxmlformats.org/officeDocument/2006/relationships/tags" Target="../tags/tag395.xml"/><Relationship Id="rId8" Type="http://schemas.openxmlformats.org/officeDocument/2006/relationships/tags" Target="../tags/tag355.xml"/><Relationship Id="rId51" Type="http://schemas.openxmlformats.org/officeDocument/2006/relationships/slideLayout" Target="../slideLayouts/slideLayout1.xml"/><Relationship Id="rId3" Type="http://schemas.openxmlformats.org/officeDocument/2006/relationships/tags" Target="../tags/tag350.xml"/><Relationship Id="rId12" Type="http://schemas.openxmlformats.org/officeDocument/2006/relationships/tags" Target="../tags/tag359.xml"/><Relationship Id="rId17" Type="http://schemas.openxmlformats.org/officeDocument/2006/relationships/tags" Target="../tags/tag364.xml"/><Relationship Id="rId25" Type="http://schemas.openxmlformats.org/officeDocument/2006/relationships/tags" Target="../tags/tag372.xml"/><Relationship Id="rId33" Type="http://schemas.openxmlformats.org/officeDocument/2006/relationships/tags" Target="../tags/tag380.xml"/><Relationship Id="rId38" Type="http://schemas.openxmlformats.org/officeDocument/2006/relationships/tags" Target="../tags/tag385.xml"/><Relationship Id="rId46" Type="http://schemas.openxmlformats.org/officeDocument/2006/relationships/tags" Target="../tags/tag393.xml"/><Relationship Id="rId20" Type="http://schemas.openxmlformats.org/officeDocument/2006/relationships/tags" Target="../tags/tag367.xml"/><Relationship Id="rId41" Type="http://schemas.openxmlformats.org/officeDocument/2006/relationships/tags" Target="../tags/tag388.xml"/><Relationship Id="rId54" Type="http://schemas.openxmlformats.org/officeDocument/2006/relationships/chart" Target="../charts/chart7.xml"/><Relationship Id="rId1" Type="http://schemas.openxmlformats.org/officeDocument/2006/relationships/tags" Target="../tags/tag348.xml"/><Relationship Id="rId6" Type="http://schemas.openxmlformats.org/officeDocument/2006/relationships/tags" Target="../tags/tag353.xml"/><Relationship Id="rId15" Type="http://schemas.openxmlformats.org/officeDocument/2006/relationships/tags" Target="../tags/tag362.xml"/><Relationship Id="rId23" Type="http://schemas.openxmlformats.org/officeDocument/2006/relationships/tags" Target="../tags/tag370.xml"/><Relationship Id="rId28" Type="http://schemas.openxmlformats.org/officeDocument/2006/relationships/tags" Target="../tags/tag375.xml"/><Relationship Id="rId36" Type="http://schemas.openxmlformats.org/officeDocument/2006/relationships/tags" Target="../tags/tag383.xml"/><Relationship Id="rId49" Type="http://schemas.openxmlformats.org/officeDocument/2006/relationships/tags" Target="../tags/tag396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410.xml"/><Relationship Id="rId18" Type="http://schemas.openxmlformats.org/officeDocument/2006/relationships/tags" Target="../tags/tag415.xml"/><Relationship Id="rId26" Type="http://schemas.openxmlformats.org/officeDocument/2006/relationships/tags" Target="../tags/tag423.xml"/><Relationship Id="rId21" Type="http://schemas.openxmlformats.org/officeDocument/2006/relationships/tags" Target="../tags/tag418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404.xml"/><Relationship Id="rId12" Type="http://schemas.openxmlformats.org/officeDocument/2006/relationships/tags" Target="../tags/tag409.xml"/><Relationship Id="rId17" Type="http://schemas.openxmlformats.org/officeDocument/2006/relationships/tags" Target="../tags/tag414.xml"/><Relationship Id="rId25" Type="http://schemas.openxmlformats.org/officeDocument/2006/relationships/tags" Target="../tags/tag422.xml"/><Relationship Id="rId33" Type="http://schemas.openxmlformats.org/officeDocument/2006/relationships/tags" Target="../tags/tag430.xml"/><Relationship Id="rId2" Type="http://schemas.openxmlformats.org/officeDocument/2006/relationships/tags" Target="../tags/tag399.xml"/><Relationship Id="rId16" Type="http://schemas.openxmlformats.org/officeDocument/2006/relationships/tags" Target="../tags/tag413.xml"/><Relationship Id="rId20" Type="http://schemas.openxmlformats.org/officeDocument/2006/relationships/tags" Target="../tags/tag417.xml"/><Relationship Id="rId29" Type="http://schemas.openxmlformats.org/officeDocument/2006/relationships/tags" Target="../tags/tag426.xml"/><Relationship Id="rId1" Type="http://schemas.openxmlformats.org/officeDocument/2006/relationships/tags" Target="../tags/tag398.xml"/><Relationship Id="rId6" Type="http://schemas.openxmlformats.org/officeDocument/2006/relationships/tags" Target="../tags/tag403.xml"/><Relationship Id="rId11" Type="http://schemas.openxmlformats.org/officeDocument/2006/relationships/tags" Target="../tags/tag408.xml"/><Relationship Id="rId24" Type="http://schemas.openxmlformats.org/officeDocument/2006/relationships/tags" Target="../tags/tag421.xml"/><Relationship Id="rId32" Type="http://schemas.openxmlformats.org/officeDocument/2006/relationships/tags" Target="../tags/tag429.xml"/><Relationship Id="rId37" Type="http://schemas.openxmlformats.org/officeDocument/2006/relationships/chart" Target="../charts/chart8.xml"/><Relationship Id="rId5" Type="http://schemas.openxmlformats.org/officeDocument/2006/relationships/tags" Target="../tags/tag402.xml"/><Relationship Id="rId15" Type="http://schemas.openxmlformats.org/officeDocument/2006/relationships/tags" Target="../tags/tag412.xml"/><Relationship Id="rId23" Type="http://schemas.openxmlformats.org/officeDocument/2006/relationships/tags" Target="../tags/tag420.xml"/><Relationship Id="rId28" Type="http://schemas.openxmlformats.org/officeDocument/2006/relationships/tags" Target="../tags/tag425.xml"/><Relationship Id="rId36" Type="http://schemas.openxmlformats.org/officeDocument/2006/relationships/image" Target="../media/image1.emf"/><Relationship Id="rId10" Type="http://schemas.openxmlformats.org/officeDocument/2006/relationships/tags" Target="../tags/tag407.xml"/><Relationship Id="rId19" Type="http://schemas.openxmlformats.org/officeDocument/2006/relationships/tags" Target="../tags/tag416.xml"/><Relationship Id="rId31" Type="http://schemas.openxmlformats.org/officeDocument/2006/relationships/tags" Target="../tags/tag428.xml"/><Relationship Id="rId4" Type="http://schemas.openxmlformats.org/officeDocument/2006/relationships/tags" Target="../tags/tag401.xml"/><Relationship Id="rId9" Type="http://schemas.openxmlformats.org/officeDocument/2006/relationships/tags" Target="../tags/tag406.xml"/><Relationship Id="rId14" Type="http://schemas.openxmlformats.org/officeDocument/2006/relationships/tags" Target="../tags/tag411.xml"/><Relationship Id="rId22" Type="http://schemas.openxmlformats.org/officeDocument/2006/relationships/tags" Target="../tags/tag419.xml"/><Relationship Id="rId27" Type="http://schemas.openxmlformats.org/officeDocument/2006/relationships/tags" Target="../tags/tag424.xml"/><Relationship Id="rId30" Type="http://schemas.openxmlformats.org/officeDocument/2006/relationships/tags" Target="../tags/tag427.xml"/><Relationship Id="rId35" Type="http://schemas.openxmlformats.org/officeDocument/2006/relationships/oleObject" Target="../embeddings/oleObject9.bin"/><Relationship Id="rId8" Type="http://schemas.openxmlformats.org/officeDocument/2006/relationships/tags" Target="../tags/tag405.xml"/><Relationship Id="rId3" Type="http://schemas.openxmlformats.org/officeDocument/2006/relationships/tags" Target="../tags/tag400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443.xml"/><Relationship Id="rId18" Type="http://schemas.openxmlformats.org/officeDocument/2006/relationships/tags" Target="../tags/tag448.xml"/><Relationship Id="rId26" Type="http://schemas.openxmlformats.org/officeDocument/2006/relationships/tags" Target="../tags/tag456.xml"/><Relationship Id="rId21" Type="http://schemas.openxmlformats.org/officeDocument/2006/relationships/tags" Target="../tags/tag451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437.xml"/><Relationship Id="rId12" Type="http://schemas.openxmlformats.org/officeDocument/2006/relationships/tags" Target="../tags/tag442.xml"/><Relationship Id="rId17" Type="http://schemas.openxmlformats.org/officeDocument/2006/relationships/tags" Target="../tags/tag447.xml"/><Relationship Id="rId25" Type="http://schemas.openxmlformats.org/officeDocument/2006/relationships/tags" Target="../tags/tag455.xml"/><Relationship Id="rId33" Type="http://schemas.openxmlformats.org/officeDocument/2006/relationships/tags" Target="../tags/tag463.xml"/><Relationship Id="rId2" Type="http://schemas.openxmlformats.org/officeDocument/2006/relationships/tags" Target="../tags/tag432.xml"/><Relationship Id="rId16" Type="http://schemas.openxmlformats.org/officeDocument/2006/relationships/tags" Target="../tags/tag446.xml"/><Relationship Id="rId20" Type="http://schemas.openxmlformats.org/officeDocument/2006/relationships/tags" Target="../tags/tag450.xml"/><Relationship Id="rId29" Type="http://schemas.openxmlformats.org/officeDocument/2006/relationships/tags" Target="../tags/tag459.xml"/><Relationship Id="rId1" Type="http://schemas.openxmlformats.org/officeDocument/2006/relationships/tags" Target="../tags/tag431.xml"/><Relationship Id="rId6" Type="http://schemas.openxmlformats.org/officeDocument/2006/relationships/tags" Target="../tags/tag436.xml"/><Relationship Id="rId11" Type="http://schemas.openxmlformats.org/officeDocument/2006/relationships/tags" Target="../tags/tag441.xml"/><Relationship Id="rId24" Type="http://schemas.openxmlformats.org/officeDocument/2006/relationships/tags" Target="../tags/tag454.xml"/><Relationship Id="rId32" Type="http://schemas.openxmlformats.org/officeDocument/2006/relationships/tags" Target="../tags/tag462.xml"/><Relationship Id="rId37" Type="http://schemas.openxmlformats.org/officeDocument/2006/relationships/chart" Target="../charts/chart9.xml"/><Relationship Id="rId5" Type="http://schemas.openxmlformats.org/officeDocument/2006/relationships/tags" Target="../tags/tag435.xml"/><Relationship Id="rId15" Type="http://schemas.openxmlformats.org/officeDocument/2006/relationships/tags" Target="../tags/tag445.xml"/><Relationship Id="rId23" Type="http://schemas.openxmlformats.org/officeDocument/2006/relationships/tags" Target="../tags/tag453.xml"/><Relationship Id="rId28" Type="http://schemas.openxmlformats.org/officeDocument/2006/relationships/tags" Target="../tags/tag458.xml"/><Relationship Id="rId36" Type="http://schemas.openxmlformats.org/officeDocument/2006/relationships/image" Target="../media/image1.emf"/><Relationship Id="rId10" Type="http://schemas.openxmlformats.org/officeDocument/2006/relationships/tags" Target="../tags/tag440.xml"/><Relationship Id="rId19" Type="http://schemas.openxmlformats.org/officeDocument/2006/relationships/tags" Target="../tags/tag449.xml"/><Relationship Id="rId31" Type="http://schemas.openxmlformats.org/officeDocument/2006/relationships/tags" Target="../tags/tag461.xml"/><Relationship Id="rId4" Type="http://schemas.openxmlformats.org/officeDocument/2006/relationships/tags" Target="../tags/tag434.xml"/><Relationship Id="rId9" Type="http://schemas.openxmlformats.org/officeDocument/2006/relationships/tags" Target="../tags/tag439.xml"/><Relationship Id="rId14" Type="http://schemas.openxmlformats.org/officeDocument/2006/relationships/tags" Target="../tags/tag444.xml"/><Relationship Id="rId22" Type="http://schemas.openxmlformats.org/officeDocument/2006/relationships/tags" Target="../tags/tag452.xml"/><Relationship Id="rId27" Type="http://schemas.openxmlformats.org/officeDocument/2006/relationships/tags" Target="../tags/tag457.xml"/><Relationship Id="rId30" Type="http://schemas.openxmlformats.org/officeDocument/2006/relationships/tags" Target="../tags/tag460.xml"/><Relationship Id="rId35" Type="http://schemas.openxmlformats.org/officeDocument/2006/relationships/oleObject" Target="../embeddings/oleObject10.bin"/><Relationship Id="rId8" Type="http://schemas.openxmlformats.org/officeDocument/2006/relationships/tags" Target="../tags/tag438.xml"/><Relationship Id="rId3" Type="http://schemas.openxmlformats.org/officeDocument/2006/relationships/tags" Target="../tags/tag4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9AE5294-21FB-443B-AC9E-47D53F9097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9452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416" imgH="423" progId="TCLayout.ActiveDocument.1">
                  <p:embed/>
                </p:oleObj>
              </mc:Choice>
              <mc:Fallback>
                <p:oleObj name="think-cell Slide" r:id="rId52" imgW="416" imgH="423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9AE5294-21FB-443B-AC9E-47D53F909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41" hidden="1">
            <a:extLst>
              <a:ext uri="{FF2B5EF4-FFF2-40B4-BE49-F238E27FC236}">
                <a16:creationId xmlns:a16="http://schemas.microsoft.com/office/drawing/2014/main" id="{1CDC1D26-5559-48E5-A3EA-95A60632EA3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fr-FR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latin typeface="Trebuchet MS" panose="020B0603020202020204" pitchFamily="34" charset="0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B7E987-01B8-492B-B78E-0EA088CC8C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F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CB9626-71CD-4BA3-B2F8-3277490C0D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21D8B75-C883-4944-B136-358BD997DDA3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8320088" y="831850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B88B253-97A1-48F6-AD5F-D88ADB388518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681663" y="1046163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2064129-2E28-40C1-A365-3EAF8D69273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5021263" y="1263650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CC86932-1395-4059-86B8-87E19AB49B34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063625" y="1173163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1267229-A759-41B5-B57C-85276F40362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340475" y="1046163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1BC0B30-ED35-4001-A1D6-139AF8FB2FD8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3702050" y="1135063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E69C7FE-B306-4E03-8A12-629329FE6434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3043238" y="1135063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85DF3CB-9384-404E-AB5A-ABDC96776C3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1724025" y="1196975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053F143-8075-4B34-B8B8-C33571F2C88A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2382838" y="1389063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E64383D-B260-4ED8-A534-94181DD7FFF2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4362450" y="1039813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458EA12-4C08-42D5-85F6-D0BBEC493261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7000875" y="923925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60FA607-6CB1-4897-98EF-EBA7EAD6C283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7659688" y="1189038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4" name="Chart 53">
            <a:extLst>
              <a:ext uri="{FF2B5EF4-FFF2-40B4-BE49-F238E27FC236}">
                <a16:creationId xmlns:a16="http://schemas.microsoft.com/office/drawing/2014/main" id="{CC177C1A-D952-4681-A463-7D9DBE9CEF8A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130200153"/>
              </p:ext>
            </p:extLst>
          </p:nvPr>
        </p:nvGraphicFramePr>
        <p:xfrm>
          <a:off x="468313" y="749300"/>
          <a:ext cx="8739187" cy="4638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2D9085D-E074-4287-9CB1-C0A337A374E8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4837113" y="1014413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EC9B605C-27F3-4ECE-9C8E-8D5F8CB12AAB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 flipV="1">
            <a:off x="8135938" y="1112838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D50359F6-228C-411C-A49B-4FA415B15229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V="1">
            <a:off x="1539875" y="1185863"/>
            <a:ext cx="0" cy="3651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7AEE2A3D-8E34-47ED-A744-162D7F6FF665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 flipV="1">
            <a:off x="4178300" y="1087438"/>
            <a:ext cx="0" cy="7302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FF0B8F1-CA42-46B3-A1F6-72079A7B0D28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2198688" y="1171575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4A70354-3411-4330-B0CB-7162769D8411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 flipV="1">
            <a:off x="2859088" y="1312863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6AD1A1B-4041-4EFF-AF08-BEAC86A7C476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 flipV="1">
            <a:off x="5497513" y="1187450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C392ED1-FF98-4357-80E3-B092B35EC892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 flipV="1">
            <a:off x="6816725" y="985838"/>
            <a:ext cx="0" cy="8572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5DAF424-2142-44D7-929C-3F9158F27E56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>
            <a:off x="7475538" y="898525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7" name="Espace réservé du texte 2">
            <a:extLst>
              <a:ext uri="{FF2B5EF4-FFF2-40B4-BE49-F238E27FC236}">
                <a16:creationId xmlns:a16="http://schemas.microsoft.com/office/drawing/2014/main" id="{2120A82C-648E-40A2-A75A-D6C8537E9C9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984625" y="5364163"/>
            <a:ext cx="3873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91E4460-E49A-47CC-A315-732D4D87B22C}" type="datetime'''L''''''''''FL ''''''20''''''''1''''7'''''''''''''''''">
              <a:rPr lang="fr-FR" altLang="en-US" smtClean="0"/>
              <a:pPr/>
              <a:t>LFL 2017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2" name="Espace réservé du texte 2">
            <a:extLst>
              <a:ext uri="{FF2B5EF4-FFF2-40B4-BE49-F238E27FC236}">
                <a16:creationId xmlns:a16="http://schemas.microsoft.com/office/drawing/2014/main" id="{6A5EF5DD-3BAC-4E5E-B000-376F8E699F7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652963" y="801688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76EDDC6-B75F-4C21-94AB-E879039C0057}" type="datetime'''''''''-''''''1''''''''''''''''''.9'">
              <a:rPr lang="fr-FR" altLang="en-US" smtClean="0"/>
              <a:pPr/>
              <a:t>-1.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6" name="Espace réservé du texte 2">
            <a:extLst>
              <a:ext uri="{FF2B5EF4-FFF2-40B4-BE49-F238E27FC236}">
                <a16:creationId xmlns:a16="http://schemas.microsoft.com/office/drawing/2014/main" id="{33094E6A-D62C-4FB5-AA4B-9A8F898CA1E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346200" y="5364163"/>
            <a:ext cx="3873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468B20D-88C0-4053-9A2A-7F8B6F73493F}" type="datetime'L''''''''''''FL ''2''''''''''''''01''6'''''''''">
              <a:rPr lang="fr-FR" altLang="en-US" smtClean="0"/>
              <a:pPr/>
              <a:t>LFL 2016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2" name="Espace réservé du texte 2">
            <a:extLst>
              <a:ext uri="{FF2B5EF4-FFF2-40B4-BE49-F238E27FC236}">
                <a16:creationId xmlns:a16="http://schemas.microsoft.com/office/drawing/2014/main" id="{4DE26C2D-BCED-4E76-91EF-6BA80281921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597400" y="5364163"/>
            <a:ext cx="4794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5B69C93-869B-4F37-9DDC-11F75D64BB70}" type="datetime'''''''C''h''urn'''''''''''''''''''''' ''''2''0''1''8'''''''''">
              <a:rPr lang="fr-FR" altLang="en-US" smtClean="0"/>
              <a:pPr/>
              <a:t>Churn 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FED6F1E6-6643-4D4B-9413-16622D2E3CE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958975" y="5364163"/>
            <a:ext cx="4794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A2B9145-3134-40AC-8F49-A2470FDD48A0}" type="datetime'C''''''''''''''''''''''h''''''''''u''''''''r''''''n ''201''7'">
              <a:rPr lang="fr-FR" altLang="en-US" smtClean="0"/>
              <a:pPr/>
              <a:t>Churn 2017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3" name="Espace réservé du texte 2">
            <a:extLst>
              <a:ext uri="{FF2B5EF4-FFF2-40B4-BE49-F238E27FC236}">
                <a16:creationId xmlns:a16="http://schemas.microsoft.com/office/drawing/2014/main" id="{84E3CE5E-D6F1-44D8-A0DB-1B49B448B06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346700" y="1289050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E59C5E9-49D4-4A0B-9C6E-1DA3CB1A0512}" type="datetime'''''''''''''''''''''1''''''''''''''''''''''''.9'''''''''">
              <a:rPr lang="fr-FR" altLang="en-US" smtClean="0"/>
              <a:pPr/>
              <a:t>1.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3" name="Espace réservé du texte 2">
            <a:extLst>
              <a:ext uri="{FF2B5EF4-FFF2-40B4-BE49-F238E27FC236}">
                <a16:creationId xmlns:a16="http://schemas.microsoft.com/office/drawing/2014/main" id="{FB71B4E2-CD7D-4ED9-B59C-1DAEEF4D752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303838" y="5364163"/>
            <a:ext cx="3873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FFDD805-0932-4E70-8818-FFA7CFE26AAE}" type="datetime'N''''''''''''''''''ew l''''''''''''o''g''''''o'''''' 20''18'''">
              <a:rPr lang="fr-FR" altLang="en-US" smtClean="0"/>
              <a:pPr/>
              <a:t>New logo 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8" name="Espace réservé du texte 2">
            <a:extLst>
              <a:ext uri="{FF2B5EF4-FFF2-40B4-BE49-F238E27FC236}">
                <a16:creationId xmlns:a16="http://schemas.microsoft.com/office/drawing/2014/main" id="{97449C5F-EFB9-4A77-BB80-08ACD8569C4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85800" y="5364163"/>
            <a:ext cx="387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87CCC98-84C9-4038-BC4E-6EEEFCC70A2A}" type="datetime'''''''''2''''''''''0''''1''''''''''''''6'''''''''''">
              <a:rPr lang="fr-FR" altLang="en-US" smtClean="0"/>
              <a:pPr/>
              <a:t>2016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1" name="Espace réservé du texte 2">
            <a:extLst>
              <a:ext uri="{FF2B5EF4-FFF2-40B4-BE49-F238E27FC236}">
                <a16:creationId xmlns:a16="http://schemas.microsoft.com/office/drawing/2014/main" id="{2EFB888C-24EA-4799-91EC-4D24BB2A552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962650" y="5364163"/>
            <a:ext cx="387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3039D07-0430-4ACB-B965-2C046BE17FA7}" type="datetime'''''''''''''20''''''''''''''''18'''''''''''''''''''''''''''''">
              <a:rPr lang="fr-FR" altLang="en-US" smtClean="0"/>
              <a:pPr/>
              <a:t>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41" name="Espace réservé du texte 2">
            <a:extLst>
              <a:ext uri="{FF2B5EF4-FFF2-40B4-BE49-F238E27FC236}">
                <a16:creationId xmlns:a16="http://schemas.microsoft.com/office/drawing/2014/main" id="{C152E67D-402B-4387-8DB5-DF4CAE9F853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235825" y="5364163"/>
            <a:ext cx="4794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1490B19-B5CC-4145-9139-788DB18DFA5B}" type="datetime'''''''''''C''''''h''''''''u''''rn ''''''''''''2''0''19'''''''">
              <a:rPr lang="fr-FR" altLang="en-US" smtClean="0"/>
              <a:pPr/>
              <a:t>Churn 201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0" name="Espace réservé du texte 2">
            <a:extLst>
              <a:ext uri="{FF2B5EF4-FFF2-40B4-BE49-F238E27FC236}">
                <a16:creationId xmlns:a16="http://schemas.microsoft.com/office/drawing/2014/main" id="{61CB25F0-5394-4BD8-92E6-16389BDD1EA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601075" y="5364163"/>
            <a:ext cx="387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92DAABD-2471-4E01-B22E-1EF3011B608A}" type="datetime'''2''''''''''''''''''''''''''''''0''''''''''''''''1''9'''''''">
              <a:rPr lang="fr-FR" altLang="en-US" smtClean="0"/>
              <a:pPr/>
              <a:t>201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5" name="Espace réservé du texte 2">
            <a:extLst>
              <a:ext uri="{FF2B5EF4-FFF2-40B4-BE49-F238E27FC236}">
                <a16:creationId xmlns:a16="http://schemas.microsoft.com/office/drawing/2014/main" id="{4160291E-B783-4FDD-A513-8686062EE52E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665913" y="1071563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39CBC72-B0C2-479A-9A30-91DEC40811DB}" type="datetime'''1''''''''''''''''''''''.''''''''''''''''''''''1'">
              <a:rPr lang="fr-FR" altLang="en-US" smtClean="0"/>
              <a:pPr/>
              <a:t>1.1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08514D1F-E741-4343-B2BB-920A0046EF8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623050" y="5364163"/>
            <a:ext cx="3873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581B465-7ABF-4B8B-8DA4-8706708794E6}" type="datetime'''''''L''''''F''''''''''''''''''''''''L ''2''0''18'''''''''">
              <a:rPr lang="fr-FR" altLang="en-US" smtClean="0"/>
              <a:pPr/>
              <a:t>LFL 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67" name="Espace réservé du texte 2">
            <a:extLst>
              <a:ext uri="{FF2B5EF4-FFF2-40B4-BE49-F238E27FC236}">
                <a16:creationId xmlns:a16="http://schemas.microsoft.com/office/drawing/2014/main" id="{3FD5BDCC-A5B7-4998-8DC7-4D6909231A15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355725" y="1222375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86DAFA9-F6CE-48A5-B37E-C70783BBB3B2}" type="datetime'''''-''''''''''0''''.''2'''''''''''''''''''''''''''''''">
              <a:rPr lang="fr-FR" altLang="en-US" smtClean="0"/>
              <a:pPr/>
              <a:t>-0.2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7" name="Espace réservé du texte 2">
            <a:extLst>
              <a:ext uri="{FF2B5EF4-FFF2-40B4-BE49-F238E27FC236}">
                <a16:creationId xmlns:a16="http://schemas.microsoft.com/office/drawing/2014/main" id="{0D8561B6-7236-4464-86AB-9E5F521CC4E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7985125" y="1214438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F29CA98-64EB-48D8-8838-60668C0F02FF}" type="datetime'''''''''''''3''''.''''''1'''''''''''">
              <a:rPr lang="fr-FR" altLang="en-US" smtClean="0"/>
              <a:pPr/>
              <a:t>3.1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6" name="Espace réservé du texte 2">
            <a:extLst>
              <a:ext uri="{FF2B5EF4-FFF2-40B4-BE49-F238E27FC236}">
                <a16:creationId xmlns:a16="http://schemas.microsoft.com/office/drawing/2014/main" id="{644F69EF-A319-4637-8C83-7C1750CEDA2E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7291388" y="685800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A58E2AA-8D09-4318-A355-5AE68398EF7E}" type="datetime'''''''''''''''''''''''''''''-''''''''2''''.''''''''3'''''''''">
              <a:rPr lang="fr-FR" altLang="en-US" smtClean="0"/>
              <a:pPr/>
              <a:t>-2.3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40" name="Espace réservé du texte 2">
            <a:extLst>
              <a:ext uri="{FF2B5EF4-FFF2-40B4-BE49-F238E27FC236}">
                <a16:creationId xmlns:a16="http://schemas.microsoft.com/office/drawing/2014/main" id="{39A82838-48B4-4A6D-BE00-031201B45A51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942263" y="5364163"/>
            <a:ext cx="3873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9460C9A-01FD-4DD3-86FF-456004CF49B4}" type="datetime'''N''''''''ew'' l''''''''''''''''ogo ''20''''''1''''9'">
              <a:rPr lang="fr-FR" altLang="en-US" smtClean="0"/>
              <a:pPr/>
              <a:t>New logo 201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68" name="Espace réservé du texte 2">
            <a:extLst>
              <a:ext uri="{FF2B5EF4-FFF2-40B4-BE49-F238E27FC236}">
                <a16:creationId xmlns:a16="http://schemas.microsoft.com/office/drawing/2014/main" id="{CED88030-701E-499A-A464-3C34C5228A3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2014538" y="958850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6BDCFB4-1754-4B25-8A75-F6DC45400CBB}" type="datetime'''''''''''''''''''-''''''''''''1''''''''''''''.6'''''">
              <a:rPr lang="fr-FR" altLang="en-US" smtClean="0"/>
              <a:pPr/>
              <a:t>-1.6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69" name="Espace réservé du texte 2">
            <a:extLst>
              <a:ext uri="{FF2B5EF4-FFF2-40B4-BE49-F238E27FC236}">
                <a16:creationId xmlns:a16="http://schemas.microsoft.com/office/drawing/2014/main" id="{2B45617E-18DB-4E4A-81BE-72286154FCC1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2708275" y="1414463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1E5786F-4693-4822-91F5-B7001B09693B}" type="datetime'''''''''''''''''''2''''''''''''.''''''''''''''2'''''''''''''''">
              <a:rPr lang="fr-FR" altLang="en-US" smtClean="0"/>
              <a:pPr/>
              <a:t>2.2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4" name="Espace réservé du texte 2">
            <a:extLst>
              <a:ext uri="{FF2B5EF4-FFF2-40B4-BE49-F238E27FC236}">
                <a16:creationId xmlns:a16="http://schemas.microsoft.com/office/drawing/2014/main" id="{82CB1396-B268-4F71-B6B9-A0F841FCD34D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957889" y="808038"/>
            <a:ext cx="396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F588258-9DC6-47BE-9EFB-3BC22633E281}" type="datetime'''''''''''''3''6''''''''''''''''''.''''''5'''">
              <a:rPr lang="fr-FR" altLang="en-US" smtClean="0"/>
              <a:pPr/>
              <a:t>36.5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85D2B09C-7410-4FEA-B6D7-C4A5A091ADA8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2665413" y="5364163"/>
            <a:ext cx="3873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7048F42-2BE9-4360-82DA-F86A8AE4B879}" type="datetime'''New'''' log''''''''''o'''' ''''2''''''''''''0''''1''7'''''">
              <a:rPr lang="fr-FR" altLang="en-US" smtClean="0"/>
              <a:pPr/>
              <a:t>New logo 2017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8" name="Espace réservé du texte 2">
            <a:extLst>
              <a:ext uri="{FF2B5EF4-FFF2-40B4-BE49-F238E27FC236}">
                <a16:creationId xmlns:a16="http://schemas.microsoft.com/office/drawing/2014/main" id="{75E98BBA-8C56-4DE8-B7AA-3507CF7051C7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8596314" y="593725"/>
            <a:ext cx="396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055070E-96A2-4D24-8ADF-1D4D9BF03C9A}" type="datetime'''''''''''''''''3''''''''''''''''''''''''''''8''''''''''.''3'">
              <a:rPr lang="fr-FR" altLang="en-US" smtClean="0"/>
              <a:pPr/>
              <a:t>38.3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5" name="Espace réservé du texte 2">
            <a:extLst>
              <a:ext uri="{FF2B5EF4-FFF2-40B4-BE49-F238E27FC236}">
                <a16:creationId xmlns:a16="http://schemas.microsoft.com/office/drawing/2014/main" id="{00714E26-EC36-4A85-960D-3EDA17D5A276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3324225" y="5364163"/>
            <a:ext cx="387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BE63372-DC66-4AD1-9AE1-BB985AA381C2}" type="datetime'2''''''''''0''''''''''1''''''7'''''''''''''''''''''''''''''''">
              <a:rPr lang="fr-FR" altLang="en-US" smtClean="0"/>
              <a:pPr/>
              <a:t>2017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65" name="Espace réservé du texte 2">
            <a:extLst>
              <a:ext uri="{FF2B5EF4-FFF2-40B4-BE49-F238E27FC236}">
                <a16:creationId xmlns:a16="http://schemas.microsoft.com/office/drawing/2014/main" id="{5C34D846-5CB4-44D6-A90D-D126F6A15053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681039" y="935038"/>
            <a:ext cx="396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B40A3A0-F51D-443C-BAEC-90D1A508AD76}" type="datetime'''''''''3''5''''''''''''''''''''.''''4'''''''''''''">
              <a:rPr lang="fr-FR" altLang="en-US" smtClean="0"/>
              <a:pPr/>
              <a:t>35.4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0" name="Espace réservé du texte 2">
            <a:extLst>
              <a:ext uri="{FF2B5EF4-FFF2-40B4-BE49-F238E27FC236}">
                <a16:creationId xmlns:a16="http://schemas.microsoft.com/office/drawing/2014/main" id="{BDD2781E-3E86-4A91-8146-84E12F59FA0C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3319464" y="896938"/>
            <a:ext cx="396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753DA1D-A9E6-4F35-BA3B-7B2EBA04B985}" type="datetime'''3''''''''''''''''''5''''.''7'''''''''''''">
              <a:rPr lang="fr-FR" altLang="en-US" smtClean="0"/>
              <a:pPr/>
              <a:t>35.7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1" name="Espace réservé du texte 2">
            <a:extLst>
              <a:ext uri="{FF2B5EF4-FFF2-40B4-BE49-F238E27FC236}">
                <a16:creationId xmlns:a16="http://schemas.microsoft.com/office/drawing/2014/main" id="{B8734C2E-BE04-4B3A-BAA9-6C1D8581526B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4027488" y="1160463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75A888B-3CF8-4087-B9A5-ACCD73354B3B}" type="datetime'''''''''''''''''''''''0''''''''''''''''''''''''''.''8'''''''">
              <a:rPr lang="fr-FR" altLang="en-US" smtClean="0"/>
              <a:pPr/>
              <a:t>0.8</a:t>
            </a:fld>
            <a:endParaRPr lang="fr-FR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9807298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08690BD-9494-496C-A56C-12FDCA69AC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8537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16" imgH="423" progId="TCLayout.ActiveDocument.1">
                  <p:embed/>
                </p:oleObj>
              </mc:Choice>
              <mc:Fallback>
                <p:oleObj name="think-cell Slide" r:id="rId35" imgW="416" imgH="42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08690BD-9494-496C-A56C-12FDCA69AC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149B75-29E2-4A32-B447-52C1973EDED0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fr-FR" sz="800" b="1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latin typeface="Trebuchet MS" panose="020B0603020202020204" pitchFamily="34" charset="0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FF45CDC5-AEFC-4177-BDED-9F577489C7DE}"/>
              </a:ext>
            </a:extLst>
          </p:cNvPr>
          <p:cNvSpPr/>
          <p:nvPr/>
        </p:nvSpPr>
        <p:spPr bwMode="auto">
          <a:xfrm>
            <a:off x="6359011" y="1264429"/>
            <a:ext cx="4175725" cy="3329396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4942BC8-F7FC-49E9-B296-00C71A2F51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13A1D5E3-F718-4C0C-B3F8-2030B3A2594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838043"/>
              </p:ext>
            </p:extLst>
          </p:nvPr>
        </p:nvGraphicFramePr>
        <p:xfrm>
          <a:off x="336550" y="2246313"/>
          <a:ext cx="4175125" cy="2430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4A55795F-D62D-4477-9539-82C28D7342E9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V="1">
            <a:off x="641350" y="2384425"/>
            <a:ext cx="1336675" cy="1905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21F2F5BF-3771-483E-8D82-70890A49898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1978025" y="2571750"/>
            <a:ext cx="0" cy="34925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CCA631A9-EBE4-4A26-8A9C-141C022FFF04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978025" y="2571750"/>
            <a:ext cx="40798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B290A3BD-3963-4B7E-92DD-9A40BD16897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2386013" y="2571750"/>
            <a:ext cx="0" cy="2397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FB66F5B6-FEBB-4558-8E36-6FA0131C39A3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2462213" y="2447925"/>
            <a:ext cx="0" cy="36353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9F69BC4B-2350-4C37-9B91-5ACC1BCC5EBE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2462213" y="2447925"/>
            <a:ext cx="4064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0FC3E430-2D11-4503-8A56-046FC19B3A4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2868613" y="2447925"/>
            <a:ext cx="0" cy="2397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E547190D-30A4-433B-BDA8-6D4B2FF9D2F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1978025" y="1576388"/>
            <a:ext cx="2227263" cy="808038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FDD0A22E-D044-4738-A846-D69DD4EC1C7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284413" y="4637088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B7B7909-9B8B-4310-9085-E21499BFCA43}" type="datetime'''2''''''''0''''''''''''''21'''''''''''''">
              <a:rPr lang="fr-FR" altLang="en-US" sz="1000" smtClean="0">
                <a:latin typeface="+mn-lt"/>
                <a:sym typeface="+mn-lt"/>
              </a:rPr>
              <a:pPr/>
              <a:t>2021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4" name="Espace réservé du texte 2">
            <a:extLst>
              <a:ext uri="{FF2B5EF4-FFF2-40B4-BE49-F238E27FC236}">
                <a16:creationId xmlns:a16="http://schemas.microsoft.com/office/drawing/2014/main" id="{ACB2F137-2C20-476F-8A5F-CB5C1DB3BAB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621088" y="2387600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30A7B24-C60C-4F92-A914-E9E57FC83E69}" type="datetime'''1''''''8''''''''''.3'''''''''''''''''''''''">
              <a:rPr lang="fr-FR" altLang="en-US" sz="1000" smtClean="0"/>
              <a:pPr/>
              <a:t>18.3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A9A0C130-CA17-448C-B406-947373E7697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838325" y="4637088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F5D9284-4ED2-45E4-8D27-96A0FB0EC0E5}" type="datetime'''''''''''2''''''0''''''2''''''''0'''''''''''''''">
              <a:rPr lang="fr-FR" altLang="en-US" sz="1000" smtClean="0">
                <a:latin typeface="+mn-lt"/>
                <a:sym typeface="+mn-lt"/>
              </a:rPr>
              <a:pPr/>
              <a:t>2020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24DBBEC1-2EBC-4025-BAED-993C2FA9EB1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392238" y="4637088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D6FE64A-A691-4C87-8136-D99646A4A2DA}" type="datetime'''''''''2''''''''''''''''''0''''''1''''''9'''''''''''">
              <a:rPr lang="fr-FR" altLang="en-US" sz="1000" smtClean="0">
                <a:latin typeface="+mn-lt"/>
                <a:sym typeface="+mn-lt"/>
              </a:rPr>
              <a:pPr/>
              <a:t>201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20ABFB18-92B3-4581-849D-D6C5F42002D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01650" y="4637088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D2797A6-7E92-4661-88C9-7B8BB5C872F7}" type="datetime'''2''''''''''0''''''''17'''''''''''''''''">
              <a:rPr lang="fr-FR" altLang="en-US" sz="1000" smtClean="0">
                <a:latin typeface="+mn-lt"/>
                <a:sym typeface="+mn-lt"/>
              </a:rPr>
              <a:pPr/>
              <a:t>2017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8FD9938C-F978-46AE-BB3A-EDEDFF7FD70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47738" y="4637088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59BBFB1-7FFF-4605-926A-C89B2D21CC56}" type="datetime'''''''''''''''''''''''''''2''''''0''''''18'''''''''''''''">
              <a:rPr lang="fr-FR" altLang="en-US" sz="1000" smtClean="0">
                <a:latin typeface="+mn-lt"/>
                <a:sym typeface="+mn-lt"/>
              </a:rPr>
              <a:pPr/>
              <a:t>201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5656A40E-94D2-4D19-9FCB-B644FC3F1A5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728913" y="4637088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FCED9CF-7853-4E0A-A6AA-86982676BB20}" type="datetime'''2''''''''''''''''''''0''''''''''''''''''2''2'''''''''">
              <a:rPr lang="fr-FR" altLang="en-US" sz="1000" smtClean="0">
                <a:latin typeface="+mn-lt"/>
                <a:sym typeface="+mn-lt"/>
              </a:rPr>
              <a:pPr/>
              <a:t>2022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46B3103C-B011-4050-9308-7682C2786A9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175000" y="4637088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CCB1818-59F8-4B8F-B15B-27A57DDF5B6A}" type="datetime'''''''''2''''''''''''''''''''''''''''''0''''''23'">
              <a:rPr lang="fr-FR" altLang="en-US" sz="1000" smtClean="0">
                <a:latin typeface="+mn-lt"/>
                <a:sym typeface="+mn-lt"/>
              </a:rPr>
              <a:pPr/>
              <a:t>2023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7" name="Espace réservé du texte 2">
            <a:extLst>
              <a:ext uri="{FF2B5EF4-FFF2-40B4-BE49-F238E27FC236}">
                <a16:creationId xmlns:a16="http://schemas.microsoft.com/office/drawing/2014/main" id="{6D559518-E8C1-46B8-9B52-9036FEE0B55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621088" y="4637088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3D46F5B-6E1E-4780-ABE9-AA68649CC542}" type="datetime'2''''0''''''''''''''''''''''''''24'''''''''''">
              <a:rPr lang="fr-FR" altLang="en-US" sz="1000" smtClean="0">
                <a:latin typeface="+mn-lt"/>
                <a:sym typeface="+mn-lt"/>
              </a:rPr>
              <a:pPr/>
              <a:t>2024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8" name="Espace réservé du texte 2">
            <a:extLst>
              <a:ext uri="{FF2B5EF4-FFF2-40B4-BE49-F238E27FC236}">
                <a16:creationId xmlns:a16="http://schemas.microsoft.com/office/drawing/2014/main" id="{8C66A17F-8A18-4E0C-B25E-892F3E969D94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065588" y="4637088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C7F6E70-20F3-4D0E-9E21-94EA963F4DD9}" type="datetime'''''''''''2''''''0''''''''''''''''''''2''''''''''''5'''">
              <a:rPr lang="fr-FR" altLang="en-US" sz="1000" smtClean="0">
                <a:latin typeface="+mn-lt"/>
                <a:sym typeface="+mn-lt"/>
              </a:rPr>
              <a:pPr/>
              <a:t>2025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5" name="Espace réservé du texte 2">
            <a:extLst>
              <a:ext uri="{FF2B5EF4-FFF2-40B4-BE49-F238E27FC236}">
                <a16:creationId xmlns:a16="http://schemas.microsoft.com/office/drawing/2014/main" id="{F05CE6D0-53F8-4866-BBE8-08E714873ED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065588" y="2151063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4D69BD2-A98C-4FC8-8CFB-338AD081AE03}" type="datetime'''''''''2''''''''''''''''''''0''''''.''''''''''''4'''''''''">
              <a:rPr lang="fr-FR" altLang="en-US" sz="1000" smtClean="0"/>
              <a:pPr/>
              <a:t>20.4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99" name="Espace réservé du texte 2">
            <a:extLst>
              <a:ext uri="{FF2B5EF4-FFF2-40B4-BE49-F238E27FC236}">
                <a16:creationId xmlns:a16="http://schemas.microsoft.com/office/drawing/2014/main" id="{B7012B39-405B-48CB-AB07-FC31E3EAF9A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392238" y="2816225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805E784-6491-43C3-B428-794E3858880D}" type="datetime'''1''''''''''''''''''''''''''''''''4''''''''.''4'">
              <a:rPr lang="fr-FR" altLang="en-US" sz="1000" smtClean="0"/>
              <a:pPr/>
              <a:t>14.4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96" name="Espace réservé du texte 2">
            <a:extLst>
              <a:ext uri="{FF2B5EF4-FFF2-40B4-BE49-F238E27FC236}">
                <a16:creationId xmlns:a16="http://schemas.microsoft.com/office/drawing/2014/main" id="{96ACD372-FEF3-47D1-B300-A297F400E38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01650" y="2978150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7CCFD21-858F-4C93-B8EF-7B950B21DF85}" type="datetime'''''13''''''''''.''''''0'''''''''''''''''''''''''''">
              <a:rPr lang="fr-FR" altLang="en-US" sz="1000" smtClean="0"/>
              <a:pPr/>
              <a:t>13.0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98" name="Espace réservé du texte 2">
            <a:extLst>
              <a:ext uri="{FF2B5EF4-FFF2-40B4-BE49-F238E27FC236}">
                <a16:creationId xmlns:a16="http://schemas.microsoft.com/office/drawing/2014/main" id="{1DE28F63-AB22-4CC0-A2FB-42770F0DA4C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947738" y="2876550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1662B72-BB94-4AE1-A99E-1C27265AAA39}" type="datetime'''''1''''''''3.''''''9'''''''''''''">
              <a:rPr lang="fr-FR" altLang="en-US" sz="1000" smtClean="0"/>
              <a:pPr/>
              <a:t>13.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0" name="Espace réservé du texte 2">
            <a:extLst>
              <a:ext uri="{FF2B5EF4-FFF2-40B4-BE49-F238E27FC236}">
                <a16:creationId xmlns:a16="http://schemas.microsoft.com/office/drawing/2014/main" id="{BD03CE83-5B80-4222-9DF4-8B8CDD6253F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838325" y="2959100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27AC06A-A201-47BD-B52E-E8B98DE17CBB}" type="datetime'1''3''''''.''''''''''''''''''1'''''''''''''''''''''''''">
              <a:rPr lang="fr-FR" altLang="en-US" sz="1000" smtClean="0"/>
              <a:pPr/>
              <a:t>13.1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1" name="Espace réservé du texte 2">
            <a:extLst>
              <a:ext uri="{FF2B5EF4-FFF2-40B4-BE49-F238E27FC236}">
                <a16:creationId xmlns:a16="http://schemas.microsoft.com/office/drawing/2014/main" id="{DE44398E-CA7D-423C-B470-AEEC17B9CEF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284413" y="2849563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8890FD9-A470-4D96-949D-9CB74FFFC052}" type="datetime'''''''''''''1''''''''''''''''''''4.1'''''''''''">
              <a:rPr lang="fr-FR" altLang="en-US" sz="1000" smtClean="0"/>
              <a:pPr/>
              <a:t>14.1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2" name="Espace réservé du texte 2">
            <a:extLst>
              <a:ext uri="{FF2B5EF4-FFF2-40B4-BE49-F238E27FC236}">
                <a16:creationId xmlns:a16="http://schemas.microsoft.com/office/drawing/2014/main" id="{41BAEDB9-ABF1-40DF-B0EE-8DAE21411DC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728913" y="2725738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63DB9A0-2950-4D3B-AAC7-ED023E0BC187}" type="datetime'''''''''''''''''''''''1''5''.''''''''''''''''''''''3'''''''''">
              <a:rPr lang="fr-FR" altLang="en-US" sz="1000" smtClean="0"/>
              <a:pPr/>
              <a:t>15.3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3" name="Espace réservé du texte 2">
            <a:extLst>
              <a:ext uri="{FF2B5EF4-FFF2-40B4-BE49-F238E27FC236}">
                <a16:creationId xmlns:a16="http://schemas.microsoft.com/office/drawing/2014/main" id="{19BD0584-735D-43A7-B72F-9CD40765384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175000" y="2584450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63AD05C-C5C8-4301-BDD3-3AC5C3EAE4A5}" type="datetime'''''''''''16''.''''5'''''''''''''''''''''''''">
              <a:rPr lang="fr-FR" altLang="en-US" sz="1000" smtClean="0"/>
              <a:pPr/>
              <a:t>16.5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83" name="Espace réservé du texte 2">
            <a:extLst>
              <a:ext uri="{FF2B5EF4-FFF2-40B4-BE49-F238E27FC236}">
                <a16:creationId xmlns:a16="http://schemas.microsoft.com/office/drawing/2014/main" id="{B88B1108-0092-4AF0-9274-78C36552DF3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104900" y="2308225"/>
            <a:ext cx="409575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42728FF-EF78-48A9-99DB-62EB3352D365}" type="datetime'+''''''''''''''''0''''''''''.4''''''''%'''''''''">
              <a:rPr lang="fr-FR" altLang="en-US" sz="800" b="1" smtClean="0">
                <a:effectLst/>
              </a:rPr>
              <a:pPr/>
              <a:t>+0.4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120" name="Espace réservé du texte 2">
            <a:extLst>
              <a:ext uri="{FF2B5EF4-FFF2-40B4-BE49-F238E27FC236}">
                <a16:creationId xmlns:a16="http://schemas.microsoft.com/office/drawing/2014/main" id="{ACC55E45-D91A-4E5A-B55D-CC1C31EE388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976438" y="2486025"/>
            <a:ext cx="409575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E745B41-569F-42D3-B1F8-E86E2004ED7D}" type="datetime'+''7''''''''''''''.''''''''''''''''''''6%'">
              <a:rPr lang="fr-FR" altLang="en-US" sz="800" b="1" smtClean="0">
                <a:effectLst/>
              </a:rPr>
              <a:pPr/>
              <a:t>+7.6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125" name="Espace réservé du texte 2">
            <a:extLst>
              <a:ext uri="{FF2B5EF4-FFF2-40B4-BE49-F238E27FC236}">
                <a16:creationId xmlns:a16="http://schemas.microsoft.com/office/drawing/2014/main" id="{D4489E23-9F70-4A58-BC89-401B9D993A8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460625" y="2362200"/>
            <a:ext cx="409575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E19C29A-0498-44BB-AFC9-C5979E2529C3}" type="datetime'''+''''''''''''7''''''''.''8''''''''''%'''''">
              <a:rPr lang="fr-FR" altLang="en-US" sz="800" b="1" smtClean="0">
                <a:effectLst/>
              </a:rPr>
              <a:pPr/>
              <a:t>+7.8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93" name="Espace réservé du texte 2">
            <a:extLst>
              <a:ext uri="{FF2B5EF4-FFF2-40B4-BE49-F238E27FC236}">
                <a16:creationId xmlns:a16="http://schemas.microsoft.com/office/drawing/2014/main" id="{C7A85204-D779-4BC9-8681-F532B631821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886075" y="1893888"/>
            <a:ext cx="409575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A1927FD-8AAF-4D28-B03C-5D2F1FD523D9}" type="datetime'''''''''''''''''''''''+''''''''''''9.''''''''''''2''''''''%'">
              <a:rPr lang="fr-FR" altLang="en-US" sz="800" b="1" smtClean="0">
                <a:effectLst/>
              </a:rPr>
              <a:pPr/>
              <a:t>+9.2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148" name="Title 1">
            <a:extLst>
              <a:ext uri="{FF2B5EF4-FFF2-40B4-BE49-F238E27FC236}">
                <a16:creationId xmlns:a16="http://schemas.microsoft.com/office/drawing/2014/main" id="{166C2580-7BC9-484F-8D0C-7A9FD06E5F01}"/>
              </a:ext>
            </a:extLst>
          </p:cNvPr>
          <p:cNvSpPr txBox="1">
            <a:spLocks/>
          </p:cNvSpPr>
          <p:nvPr/>
        </p:nvSpPr>
        <p:spPr>
          <a:xfrm>
            <a:off x="167780" y="147600"/>
            <a:ext cx="9537820" cy="25721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9pPr>
          </a:lstStyle>
          <a:p>
            <a:r>
              <a:rPr lang="fr-FR" kern="0" dirty="0"/>
              <a:t>S&amp;M FR</a:t>
            </a:r>
          </a:p>
          <a:p>
            <a:endParaRPr lang="fr-FR" kern="0" dirty="0"/>
          </a:p>
        </p:txBody>
      </p:sp>
    </p:spTree>
    <p:extLst>
      <p:ext uri="{BB962C8B-B14F-4D97-AF65-F5344CB8AC3E}">
        <p14:creationId xmlns:p14="http://schemas.microsoft.com/office/powerpoint/2010/main" val="1605337167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08690BD-9494-496C-A56C-12FDCA69AC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8685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16" imgH="423" progId="TCLayout.ActiveDocument.1">
                  <p:embed/>
                </p:oleObj>
              </mc:Choice>
              <mc:Fallback>
                <p:oleObj name="think-cell Slide" r:id="rId35" imgW="416" imgH="42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08690BD-9494-496C-A56C-12FDCA69AC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149B75-29E2-4A32-B447-52C1973EDED0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fr-FR" sz="800" b="1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latin typeface="Trebuchet MS" panose="020B0603020202020204" pitchFamily="34" charset="0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FF45CDC5-AEFC-4177-BDED-9F577489C7DE}"/>
              </a:ext>
            </a:extLst>
          </p:cNvPr>
          <p:cNvSpPr/>
          <p:nvPr/>
        </p:nvSpPr>
        <p:spPr bwMode="auto">
          <a:xfrm>
            <a:off x="6359011" y="1264429"/>
            <a:ext cx="4175725" cy="3329396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4942BC8-F7FC-49E9-B296-00C71A2F51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5A9D14DB-FE2D-4AF4-9619-D721D7BAF92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58063652"/>
              </p:ext>
            </p:extLst>
          </p:nvPr>
        </p:nvGraphicFramePr>
        <p:xfrm>
          <a:off x="311150" y="1930400"/>
          <a:ext cx="4175125" cy="2430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4A55795F-D62D-4477-9539-82C28D7342E9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V="1">
            <a:off x="615950" y="2062163"/>
            <a:ext cx="1336675" cy="29210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21F2F5BF-3771-483E-8D82-70890A49898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1952625" y="2249487"/>
            <a:ext cx="0" cy="35083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CCA631A9-EBE4-4A26-8A9C-141C022FFF04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952625" y="2249488"/>
            <a:ext cx="40798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B290A3BD-3963-4B7E-92DD-9A40BD16897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2360613" y="2249488"/>
            <a:ext cx="0" cy="2397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FB66F5B6-FEBB-4558-8E36-6FA0131C39A3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2436813" y="2130425"/>
            <a:ext cx="0" cy="35877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9F69BC4B-2350-4C37-9B91-5ACC1BCC5EBE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2436813" y="2130425"/>
            <a:ext cx="4064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0FC3E430-2D11-4503-8A56-046FC19B3A4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2843213" y="2130425"/>
            <a:ext cx="0" cy="2397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E547190D-30A4-433B-BDA8-6D4B2FF9D2F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1952626" y="1258888"/>
            <a:ext cx="2227263" cy="803275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A9A0C130-CA17-448C-B406-947373E769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812925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F5D9284-4ED2-45E4-8D27-96A0FB0EC0E5}" type="datetime'''''''''''2''''''0''''''2''''''''0'''''''''''''''">
              <a:rPr lang="fr-FR" altLang="en-US" sz="1000" smtClean="0">
                <a:latin typeface="+mn-lt"/>
                <a:sym typeface="+mn-lt"/>
              </a:rPr>
              <a:pPr/>
              <a:t>2020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7" name="Espace réservé du texte 2">
            <a:extLst>
              <a:ext uri="{FF2B5EF4-FFF2-40B4-BE49-F238E27FC236}">
                <a16:creationId xmlns:a16="http://schemas.microsoft.com/office/drawing/2014/main" id="{6D559518-E8C1-46B8-9B52-9036FEE0B55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595688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3D46F5B-6E1E-4780-ABE9-AA68649CC542}" type="datetime'2''''0''''''''''''''''''''''''''24'''''''''''">
              <a:rPr lang="fr-FR" altLang="en-US" sz="1000" smtClean="0">
                <a:latin typeface="+mn-lt"/>
                <a:sym typeface="+mn-lt"/>
              </a:rPr>
              <a:pPr/>
              <a:t>2024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46B3103C-B011-4050-9308-7682C2786A9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149600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CCB1818-59F8-4B8F-B15B-27A57DDF5B6A}" type="datetime'''''''''2''''''''''''''''''''''''''''''0''''''23'">
              <a:rPr lang="fr-FR" altLang="en-US" sz="1000" smtClean="0">
                <a:latin typeface="+mn-lt"/>
                <a:sym typeface="+mn-lt"/>
              </a:rPr>
              <a:pPr/>
              <a:t>2023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99" name="Espace réservé du texte 2">
            <a:extLst>
              <a:ext uri="{FF2B5EF4-FFF2-40B4-BE49-F238E27FC236}">
                <a16:creationId xmlns:a16="http://schemas.microsoft.com/office/drawing/2014/main" id="{B7012B39-405B-48CB-AB07-FC31E3EAF9A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400176" y="254317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08ADED0-F25F-4988-A465-B210D0CB1C72}" type="datetime'6''''''''''''.''''4'''''''''''">
              <a:rPr lang="fr-FR" altLang="en-US" sz="1000" smtClean="0"/>
              <a:pPr/>
              <a:t>6.4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20ABFB18-92B3-4581-849D-D6C5F42002D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76250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D2797A6-7E92-4661-88C9-7B8BB5C872F7}" type="datetime'''2''''''''''0''''''''17'''''''''''''''''">
              <a:rPr lang="fr-FR" altLang="en-US" sz="1000" smtClean="0">
                <a:latin typeface="+mn-lt"/>
                <a:sym typeface="+mn-lt"/>
              </a:rPr>
              <a:pPr/>
              <a:t>2017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8FD9938C-F978-46AE-BB3A-EDEDFF7FD70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22338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59BBFB1-7FFF-4605-926A-C89B2D21CC56}" type="datetime'''''''''''''''''''''''''''2''''''0''''''18'''''''''''''''">
              <a:rPr lang="fr-FR" altLang="en-US" sz="1000" smtClean="0">
                <a:latin typeface="+mn-lt"/>
                <a:sym typeface="+mn-lt"/>
              </a:rPr>
              <a:pPr/>
              <a:t>201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24DBBEC1-2EBC-4025-BAED-993C2FA9EB1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366838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D6FE64A-A691-4C87-8136-D99646A4A2DA}" type="datetime'''''''''2''''''''''''''''''0''''''1''''''9'''''''''''">
              <a:rPr lang="fr-FR" altLang="en-US" sz="1000" smtClean="0">
                <a:latin typeface="+mn-lt"/>
                <a:sym typeface="+mn-lt"/>
              </a:rPr>
              <a:pPr/>
              <a:t>201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3" name="Espace réservé du texte 2">
            <a:extLst>
              <a:ext uri="{FF2B5EF4-FFF2-40B4-BE49-F238E27FC236}">
                <a16:creationId xmlns:a16="http://schemas.microsoft.com/office/drawing/2014/main" id="{19BD0584-735D-43A7-B72F-9CD40765384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182939" y="227647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C8FCBA1-CC82-4006-B6AF-7C86CEDAA4F5}" type="datetime'''7''''''''''''''.''''''''''''''''''''''4'''''''''''''''''''">
              <a:rPr lang="fr-FR" altLang="en-US" sz="1000" smtClean="0"/>
              <a:pPr/>
              <a:t>7.4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FDD0A22E-D044-4738-A846-D69DD4EC1C7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259013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B7B7909-9B8B-4310-9085-E21499BFCA43}" type="datetime'''2''''''''0''''''''''''''21'''''''''''''">
              <a:rPr lang="fr-FR" altLang="en-US" sz="1000" smtClean="0">
                <a:latin typeface="+mn-lt"/>
                <a:sym typeface="+mn-lt"/>
              </a:rPr>
              <a:pPr/>
              <a:t>2021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5656A40E-94D2-4D19-9FCB-B644FC3F1A54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703513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FCED9CF-7853-4E0A-A6AA-86982676BB20}" type="datetime'''2''''''''''''''''''''0''''''''''''''''''2''2'''''''''">
              <a:rPr lang="fr-FR" altLang="en-US" sz="1000" smtClean="0">
                <a:latin typeface="+mn-lt"/>
                <a:sym typeface="+mn-lt"/>
              </a:rPr>
              <a:pPr/>
              <a:t>2022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8" name="Espace réservé du texte 2">
            <a:extLst>
              <a:ext uri="{FF2B5EF4-FFF2-40B4-BE49-F238E27FC236}">
                <a16:creationId xmlns:a16="http://schemas.microsoft.com/office/drawing/2014/main" id="{8C66A17F-8A18-4E0C-B25E-892F3E969D94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040188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C7F6E70-20F3-4D0E-9E21-94EA963F4DD9}" type="datetime'''''''''''2''''''0''''''''''''''''''''2''''''''''''5'''">
              <a:rPr lang="fr-FR" altLang="en-US" sz="1000" smtClean="0">
                <a:latin typeface="+mn-lt"/>
                <a:sym typeface="+mn-lt"/>
              </a:rPr>
              <a:pPr/>
              <a:t>2025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96" name="Espace réservé du texte 2">
            <a:extLst>
              <a:ext uri="{FF2B5EF4-FFF2-40B4-BE49-F238E27FC236}">
                <a16:creationId xmlns:a16="http://schemas.microsoft.com/office/drawing/2014/main" id="{96ACD372-FEF3-47D1-B300-A297F400E38C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09589" y="293052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4B3DAE8-0C0E-4ED5-A751-20C71125697A}" type="datetime'4''''''''''''''''.''''''''''''''''''''''''''''''''8'">
              <a:rPr lang="fr-FR" altLang="en-US" sz="1000" smtClean="0"/>
              <a:pPr/>
              <a:t>4.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98" name="Espace réservé du texte 2">
            <a:extLst>
              <a:ext uri="{FF2B5EF4-FFF2-40B4-BE49-F238E27FC236}">
                <a16:creationId xmlns:a16="http://schemas.microsoft.com/office/drawing/2014/main" id="{1DE28F63-AB22-4CC0-A2FB-42770F0DA4C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955676" y="270827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EA84011-BA4B-4DCC-A562-B0C8B72C6113}" type="datetime'''''''5''.''''''''''''''''''''''7'''''''''''''''">
              <a:rPr lang="fr-FR" altLang="en-US" sz="1000" smtClean="0"/>
              <a:pPr/>
              <a:t>5.7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0" name="Espace réservé du texte 2">
            <a:extLst>
              <a:ext uri="{FF2B5EF4-FFF2-40B4-BE49-F238E27FC236}">
                <a16:creationId xmlns:a16="http://schemas.microsoft.com/office/drawing/2014/main" id="{BD03CE83-5B80-4222-9DF4-8B8CDD6253F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846264" y="263842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0930658-60A8-4394-91ED-370892F75785}" type="datetime'''''6''.''''0'''''">
              <a:rPr lang="fr-FR" altLang="en-US" sz="1000" smtClean="0"/>
              <a:pPr/>
              <a:t>6.0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1" name="Espace réservé du texte 2">
            <a:extLst>
              <a:ext uri="{FF2B5EF4-FFF2-40B4-BE49-F238E27FC236}">
                <a16:creationId xmlns:a16="http://schemas.microsoft.com/office/drawing/2014/main" id="{DE44398E-CA7D-423C-B470-AEEC17B9CEF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292351" y="2527300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64BF1CB-8C71-49C8-ADB0-62F72D78CE6E}" type="datetime'''''''''''''''''''''6''''''''''''''''''''''''''''''.''''''''4'">
              <a:rPr lang="fr-FR" altLang="en-US" sz="1000" smtClean="0"/>
              <a:pPr/>
              <a:t>6.4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2" name="Espace réservé du texte 2">
            <a:extLst>
              <a:ext uri="{FF2B5EF4-FFF2-40B4-BE49-F238E27FC236}">
                <a16:creationId xmlns:a16="http://schemas.microsoft.com/office/drawing/2014/main" id="{41BAEDB9-ABF1-40DF-B0EE-8DAE21411DC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736851" y="2408238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8D33BF7-940C-4486-8976-0D160173A2ED}" type="datetime'''''''''''''''6''''.''''''''''''9'''">
              <a:rPr lang="fr-FR" altLang="en-US" sz="1000" smtClean="0"/>
              <a:pPr/>
              <a:t>6.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4" name="Espace réservé du texte 2">
            <a:extLst>
              <a:ext uri="{FF2B5EF4-FFF2-40B4-BE49-F238E27FC236}">
                <a16:creationId xmlns:a16="http://schemas.microsoft.com/office/drawing/2014/main" id="{ACB2F137-2C20-476F-8A5F-CB5C1DB3BAB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629026" y="208597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9174B96-CCB2-486F-9417-ED6B16A29B26}" type="datetime'''''''''''''''''''''''''8''''''''''''.''''''''''2'''''''''''''">
              <a:rPr lang="fr-FR" altLang="en-US" sz="1000" smtClean="0"/>
              <a:pPr/>
              <a:t>8.2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5" name="Espace réservé du texte 2">
            <a:extLst>
              <a:ext uri="{FF2B5EF4-FFF2-40B4-BE49-F238E27FC236}">
                <a16:creationId xmlns:a16="http://schemas.microsoft.com/office/drawing/2014/main" id="{F05CE6D0-53F8-4866-BBE8-08E714873ED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073526" y="1835150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CE44A32-9943-4EE4-8F54-699F1E95893E}" type="datetime'''''''''9''''''''''''.2'''''''''''''''">
              <a:rPr lang="fr-FR" altLang="en-US" sz="1000" smtClean="0"/>
              <a:pPr/>
              <a:t>9.2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83" name="Espace réservé du texte 2">
            <a:extLst>
              <a:ext uri="{FF2B5EF4-FFF2-40B4-BE49-F238E27FC236}">
                <a16:creationId xmlns:a16="http://schemas.microsoft.com/office/drawing/2014/main" id="{B88B1108-0092-4AF0-9274-78C36552DF3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79500" y="2122488"/>
            <a:ext cx="409575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C65211E-9ED1-47E2-8BE8-5A55F0A7CA40}" type="datetime'''''''+7.''''''''''''''''7''''''''''''''''''''''''%'''">
              <a:rPr lang="fr-FR" altLang="en-US" sz="800" b="1" smtClean="0">
                <a:effectLst/>
              </a:rPr>
              <a:pPr/>
              <a:t>+7.7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120" name="Espace réservé du texte 2">
            <a:extLst>
              <a:ext uri="{FF2B5EF4-FFF2-40B4-BE49-F238E27FC236}">
                <a16:creationId xmlns:a16="http://schemas.microsoft.com/office/drawing/2014/main" id="{ACC55E45-D91A-4E5A-B55D-CC1C31EE388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951038" y="2163763"/>
            <a:ext cx="409575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DF9D71A-85D1-456E-B608-C3E5F8E4D2AD}" type="datetime'''''''+''7''''''''''''''''.''''''6''''''''%'">
              <a:rPr lang="fr-FR" altLang="en-US" sz="800" b="1" smtClean="0">
                <a:effectLst/>
              </a:rPr>
              <a:pPr/>
              <a:t>+7.6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125" name="Espace réservé du texte 2">
            <a:extLst>
              <a:ext uri="{FF2B5EF4-FFF2-40B4-BE49-F238E27FC236}">
                <a16:creationId xmlns:a16="http://schemas.microsoft.com/office/drawing/2014/main" id="{D4489E23-9F70-4A58-BC89-401B9D993A8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435225" y="2044700"/>
            <a:ext cx="409575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D515F48-9187-4B04-822C-E68801AFDBEE}" type="datetime'''''''''''''''''''''''''''+''''''''''7.6''''''''''''%'''''''">
              <a:rPr lang="fr-FR" altLang="en-US" sz="800" b="1" smtClean="0">
                <a:effectLst/>
              </a:rPr>
              <a:pPr/>
              <a:t>+7.6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93" name="Espace réservé du texte 2">
            <a:extLst>
              <a:ext uri="{FF2B5EF4-FFF2-40B4-BE49-F238E27FC236}">
                <a16:creationId xmlns:a16="http://schemas.microsoft.com/office/drawing/2014/main" id="{C7A85204-D779-4BC9-8681-F532B631821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860675" y="1574800"/>
            <a:ext cx="409575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CD93E3A-27D1-4318-9846-E01EA83FF90A}" type="datetime'''''''''''''+''''''''''''''''''''9''''.2''''''%'''''''">
              <a:rPr lang="fr-FR" altLang="en-US" sz="800" b="1" smtClean="0">
                <a:effectLst/>
              </a:rPr>
              <a:pPr/>
              <a:t>+9.2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148" name="Title 1">
            <a:extLst>
              <a:ext uri="{FF2B5EF4-FFF2-40B4-BE49-F238E27FC236}">
                <a16:creationId xmlns:a16="http://schemas.microsoft.com/office/drawing/2014/main" id="{166C2580-7BC9-484F-8D0C-7A9FD06E5F01}"/>
              </a:ext>
            </a:extLst>
          </p:cNvPr>
          <p:cNvSpPr txBox="1">
            <a:spLocks/>
          </p:cNvSpPr>
          <p:nvPr/>
        </p:nvSpPr>
        <p:spPr>
          <a:xfrm>
            <a:off x="167780" y="147600"/>
            <a:ext cx="9537820" cy="25721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9pPr>
          </a:lstStyle>
          <a:p>
            <a:r>
              <a:rPr lang="fr-FR" kern="0" dirty="0"/>
              <a:t>S&amp;M BNL</a:t>
            </a:r>
          </a:p>
          <a:p>
            <a:endParaRPr lang="fr-FR" kern="0" dirty="0"/>
          </a:p>
          <a:p>
            <a:endParaRPr lang="fr-FR" kern="0" dirty="0"/>
          </a:p>
        </p:txBody>
      </p:sp>
    </p:spTree>
    <p:extLst>
      <p:ext uri="{BB962C8B-B14F-4D97-AF65-F5344CB8AC3E}">
        <p14:creationId xmlns:p14="http://schemas.microsoft.com/office/powerpoint/2010/main" val="2175714912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08690BD-9494-496C-A56C-12FDCA69AC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9490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16" imgH="423" progId="TCLayout.ActiveDocument.1">
                  <p:embed/>
                </p:oleObj>
              </mc:Choice>
              <mc:Fallback>
                <p:oleObj name="think-cell Slide" r:id="rId35" imgW="416" imgH="42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08690BD-9494-496C-A56C-12FDCA69AC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149B75-29E2-4A32-B447-52C1973EDED0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fr-FR" sz="800" b="1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latin typeface="Trebuchet MS" panose="020B0603020202020204" pitchFamily="34" charset="0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FF45CDC5-AEFC-4177-BDED-9F577489C7DE}"/>
              </a:ext>
            </a:extLst>
          </p:cNvPr>
          <p:cNvSpPr/>
          <p:nvPr/>
        </p:nvSpPr>
        <p:spPr bwMode="auto">
          <a:xfrm>
            <a:off x="6359011" y="1264429"/>
            <a:ext cx="4175725" cy="3329396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4942BC8-F7FC-49E9-B296-00C71A2F51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CFB67084-CC86-4D61-A496-0A3B77BF462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77993123"/>
              </p:ext>
            </p:extLst>
          </p:nvPr>
        </p:nvGraphicFramePr>
        <p:xfrm>
          <a:off x="336550" y="2246313"/>
          <a:ext cx="4175125" cy="2430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4A55795F-D62D-4477-9539-82C28D7342E9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V="1">
            <a:off x="641350" y="2698750"/>
            <a:ext cx="1336675" cy="461963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CCA631A9-EBE4-4A26-8A9C-141C022FFF0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978025" y="2901950"/>
            <a:ext cx="40798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21F2F5BF-3771-483E-8D82-70890A498989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1978025" y="2901950"/>
            <a:ext cx="0" cy="47942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B290A3BD-3963-4B7E-92DD-9A40BD16897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2386013" y="2901950"/>
            <a:ext cx="0" cy="2397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FB66F5B6-FEBB-4558-8E36-6FA0131C39A3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2462213" y="2652713"/>
            <a:ext cx="0" cy="48895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9F69BC4B-2350-4C37-9B91-5ACC1BCC5EBE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2462213" y="2652713"/>
            <a:ext cx="4064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0FC3E430-2D11-4503-8A56-046FC19B3A4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2868613" y="2652712"/>
            <a:ext cx="0" cy="2428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E547190D-30A4-433B-BDA8-6D4B2FF9D2F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1978025" y="1430338"/>
            <a:ext cx="2227263" cy="1268413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96" name="Espace réservé du texte 2">
            <a:extLst>
              <a:ext uri="{FF2B5EF4-FFF2-40B4-BE49-F238E27FC236}">
                <a16:creationId xmlns:a16="http://schemas.microsoft.com/office/drawing/2014/main" id="{96ACD372-FEF3-47D1-B300-A297F400E38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34989" y="3881438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5644671-60C7-4290-A025-877E7B231707}" type="datetime'''''''''''''2.''''''''3'''''''">
              <a:rPr lang="fr-FR" altLang="en-US" sz="1000" smtClean="0"/>
              <a:pPr/>
              <a:t>2.3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24DBBEC1-2EBC-4025-BAED-993C2FA9EB1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392238" y="4637088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D6FE64A-A691-4C87-8136-D99646A4A2DA}" type="datetime'''''''''2''''''''''''''''''0''''''1''''''9'''''''''''">
              <a:rPr lang="fr-FR" altLang="en-US" sz="1000" smtClean="0">
                <a:latin typeface="+mn-lt"/>
                <a:sym typeface="+mn-lt"/>
              </a:rPr>
              <a:pPr/>
              <a:t>201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7" name="Espace réservé du texte 2">
            <a:extLst>
              <a:ext uri="{FF2B5EF4-FFF2-40B4-BE49-F238E27FC236}">
                <a16:creationId xmlns:a16="http://schemas.microsoft.com/office/drawing/2014/main" id="{6D559518-E8C1-46B8-9B52-9036FEE0B55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621088" y="4637088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3D46F5B-6E1E-4780-ABE9-AA68649CC542}" type="datetime'2''''0''''''''''''''''''''''''''24'''''''''''">
              <a:rPr lang="fr-FR" altLang="en-US" sz="1000" smtClean="0">
                <a:latin typeface="+mn-lt"/>
                <a:sym typeface="+mn-lt"/>
              </a:rPr>
              <a:pPr/>
              <a:t>2024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8" name="Espace réservé du texte 2">
            <a:extLst>
              <a:ext uri="{FF2B5EF4-FFF2-40B4-BE49-F238E27FC236}">
                <a16:creationId xmlns:a16="http://schemas.microsoft.com/office/drawing/2014/main" id="{8C66A17F-8A18-4E0C-B25E-892F3E969D9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065588" y="4637088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C7F6E70-20F3-4D0E-9E21-94EA963F4DD9}" type="datetime'''''''''''2''''''0''''''''''''''''''''2''''''''''''5'''">
              <a:rPr lang="fr-FR" altLang="en-US" sz="1000" smtClean="0">
                <a:latin typeface="+mn-lt"/>
                <a:sym typeface="+mn-lt"/>
              </a:rPr>
              <a:pPr/>
              <a:t>2025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8FD9938C-F978-46AE-BB3A-EDEDFF7FD70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47738" y="4637088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59BBFB1-7FFF-4605-926A-C89B2D21CC56}" type="datetime'''''''''''''''''''''''''''2''''''0''''''18'''''''''''''''">
              <a:rPr lang="fr-FR" altLang="en-US" sz="1000" smtClean="0">
                <a:latin typeface="+mn-lt"/>
                <a:sym typeface="+mn-lt"/>
              </a:rPr>
              <a:pPr/>
              <a:t>201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20ABFB18-92B3-4581-849D-D6C5F42002D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01650" y="4637088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D2797A6-7E92-4661-88C9-7B8BB5C872F7}" type="datetime'''2''''''''''0''''''''17'''''''''''''''''">
              <a:rPr lang="fr-FR" altLang="en-US" sz="1000" smtClean="0">
                <a:latin typeface="+mn-lt"/>
                <a:sym typeface="+mn-lt"/>
              </a:rPr>
              <a:pPr/>
              <a:t>2017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FDD0A22E-D044-4738-A846-D69DD4EC1C7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284413" y="4637088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B7B7909-9B8B-4310-9085-E21499BFCA43}" type="datetime'''2''''''''0''''''''''''''21'''''''''''''">
              <a:rPr lang="fr-FR" altLang="en-US" sz="1000" smtClean="0">
                <a:latin typeface="+mn-lt"/>
                <a:sym typeface="+mn-lt"/>
              </a:rPr>
              <a:pPr/>
              <a:t>2021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A9A0C130-CA17-448C-B406-947373E7697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838325" y="4637088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F5D9284-4ED2-45E4-8D27-96A0FB0EC0E5}" type="datetime'''''''''''2''''''0''''''2''''''''0'''''''''''''''">
              <a:rPr lang="fr-FR" altLang="en-US" sz="1000" smtClean="0">
                <a:latin typeface="+mn-lt"/>
                <a:sym typeface="+mn-lt"/>
              </a:rPr>
              <a:pPr/>
              <a:t>2020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46B3103C-B011-4050-9308-7682C2786A9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175000" y="4637088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CCB1818-59F8-4B8F-B15B-27A57DDF5B6A}" type="datetime'''''''''2''''''''''''''''''''''''''''''0''''''23'">
              <a:rPr lang="fr-FR" altLang="en-US" sz="1000" smtClean="0">
                <a:latin typeface="+mn-lt"/>
                <a:sym typeface="+mn-lt"/>
              </a:rPr>
              <a:pPr/>
              <a:t>2023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5656A40E-94D2-4D19-9FCB-B644FC3F1A54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728913" y="4637088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FCED9CF-7853-4E0A-A6AA-86982676BB20}" type="datetime'''2''''''''''''''''''''0''''''''''''''''''2''2'''''''''">
              <a:rPr lang="fr-FR" altLang="en-US" sz="1000" smtClean="0">
                <a:latin typeface="+mn-lt"/>
                <a:sym typeface="+mn-lt"/>
              </a:rPr>
              <a:pPr/>
              <a:t>2022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1" name="Espace réservé du texte 2">
            <a:extLst>
              <a:ext uri="{FF2B5EF4-FFF2-40B4-BE49-F238E27FC236}">
                <a16:creationId xmlns:a16="http://schemas.microsoft.com/office/drawing/2014/main" id="{DE44398E-CA7D-423C-B470-AEEC17B9CEF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317751" y="3179763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9553678-50C0-4FD6-B67B-0D4009DE726D}" type="datetime'5''.''''''3'''''''''''''''''''''''">
              <a:rPr lang="fr-FR" altLang="en-US" sz="1000" smtClean="0"/>
              <a:pPr/>
              <a:t>5.3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0" name="Espace réservé du texte 2">
            <a:extLst>
              <a:ext uri="{FF2B5EF4-FFF2-40B4-BE49-F238E27FC236}">
                <a16:creationId xmlns:a16="http://schemas.microsoft.com/office/drawing/2014/main" id="{BD03CE83-5B80-4222-9DF4-8B8CDD6253F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871664" y="341947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4249E7F-AA0C-41DE-BA1B-68A21B8FC6F8}" type="datetime'4''''''''''''''''''''.3'''''''''''''">
              <a:rPr lang="fr-FR" altLang="en-US" sz="1000" smtClean="0"/>
              <a:pPr/>
              <a:t>4.3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3" name="Espace réservé du texte 2">
            <a:extLst>
              <a:ext uri="{FF2B5EF4-FFF2-40B4-BE49-F238E27FC236}">
                <a16:creationId xmlns:a16="http://schemas.microsoft.com/office/drawing/2014/main" id="{19BD0584-735D-43A7-B72F-9CD40765384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208339" y="2687638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C8BB055-6C1E-416E-9319-4D73586C92DF}" type="datetime'''''''''''''''''''''''''''''''''''7''''''''.''4'''''''''''''">
              <a:rPr lang="fr-FR" altLang="en-US" sz="1000" smtClean="0"/>
              <a:pPr/>
              <a:t>7.4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2" name="Espace réservé du texte 2">
            <a:extLst>
              <a:ext uri="{FF2B5EF4-FFF2-40B4-BE49-F238E27FC236}">
                <a16:creationId xmlns:a16="http://schemas.microsoft.com/office/drawing/2014/main" id="{41BAEDB9-ABF1-40DF-B0EE-8DAE21411DC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762251" y="2933700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D0E714E-9434-42D6-82AA-5CD73F2D2EE3}" type="datetime'''''''''''''''''''6''''''''''''.''''''''''4'''''">
              <a:rPr lang="fr-FR" altLang="en-US" sz="1000" smtClean="0"/>
              <a:pPr/>
              <a:t>6.4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98" name="Espace réservé du texte 2">
            <a:extLst>
              <a:ext uri="{FF2B5EF4-FFF2-40B4-BE49-F238E27FC236}">
                <a16:creationId xmlns:a16="http://schemas.microsoft.com/office/drawing/2014/main" id="{1DE28F63-AB22-4CC0-A2FB-42770F0DA4C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81076" y="4021138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41054F9-BDC5-4922-82D6-B9D62BE909D6}" type="datetime'''''''''''1''''''''''.''''''''''''''''''7'''''''''''''''''''''">
              <a:rPr lang="fr-FR" altLang="en-US" sz="1000" smtClean="0"/>
              <a:pPr/>
              <a:t>1.7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99" name="Espace réservé du texte 2">
            <a:extLst>
              <a:ext uri="{FF2B5EF4-FFF2-40B4-BE49-F238E27FC236}">
                <a16:creationId xmlns:a16="http://schemas.microsoft.com/office/drawing/2014/main" id="{B7012B39-405B-48CB-AB07-FC31E3EAF9A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425576" y="3757613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3166D92-4605-4C3B-A608-2E44B396CF97}" type="datetime'''''''''''''''''''''''''''''''''2.''''''8'''''''''''">
              <a:rPr lang="fr-FR" altLang="en-US" sz="1000" smtClean="0"/>
              <a:pPr/>
              <a:t>2.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4" name="Espace réservé du texte 2">
            <a:extLst>
              <a:ext uri="{FF2B5EF4-FFF2-40B4-BE49-F238E27FC236}">
                <a16:creationId xmlns:a16="http://schemas.microsoft.com/office/drawing/2014/main" id="{ACB2F137-2C20-476F-8A5F-CB5C1DB3BAB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654426" y="242887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FAB5D3F-702F-4032-86E3-6459145E42BA}" type="datetime'''''''8''''''''''.''''''''6'''''''''''''''''''''">
              <a:rPr lang="fr-FR" altLang="en-US" sz="1000" smtClean="0"/>
              <a:pPr/>
              <a:t>8.6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5" name="Espace réservé du texte 2">
            <a:extLst>
              <a:ext uri="{FF2B5EF4-FFF2-40B4-BE49-F238E27FC236}">
                <a16:creationId xmlns:a16="http://schemas.microsoft.com/office/drawing/2014/main" id="{F05CE6D0-53F8-4866-BBE8-08E714873ED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098926" y="2151063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3349AA9-F33B-4E79-9869-1C8FD152C439}" type="datetime'9''''''.''''''''''''8'''''''''">
              <a:rPr lang="fr-FR" altLang="en-US" sz="1000" smtClean="0"/>
              <a:pPr/>
              <a:t>9.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83" name="Espace réservé du texte 2">
            <a:extLst>
              <a:ext uri="{FF2B5EF4-FFF2-40B4-BE49-F238E27FC236}">
                <a16:creationId xmlns:a16="http://schemas.microsoft.com/office/drawing/2014/main" id="{B88B1108-0092-4AF0-9274-78C36552DF3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62037" y="2843213"/>
            <a:ext cx="495300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2B650BE-D171-4568-A421-378F9548DD5A}" type="datetime'''+''2''''''''''3''''''''''''''.''''''0''''''''''''''''%'''">
              <a:rPr lang="fr-FR" altLang="en-US" sz="800" b="1" smtClean="0">
                <a:effectLst/>
              </a:rPr>
              <a:pPr/>
              <a:t>+23.0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120" name="Espace réservé du texte 2">
            <a:extLst>
              <a:ext uri="{FF2B5EF4-FFF2-40B4-BE49-F238E27FC236}">
                <a16:creationId xmlns:a16="http://schemas.microsoft.com/office/drawing/2014/main" id="{ACC55E45-D91A-4E5A-B55D-CC1C31EE388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933574" y="2816225"/>
            <a:ext cx="495300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885E0EC-2F90-45DB-97EB-7C31210A0D20}" type="datetime'''''''''+''''''''''''''2''''''''''4''''''.''''''0%'''">
              <a:rPr lang="fr-FR" altLang="en-US" sz="800" b="1" smtClean="0">
                <a:effectLst/>
              </a:rPr>
              <a:pPr/>
              <a:t>+24.0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125" name="Espace réservé du texte 2">
            <a:extLst>
              <a:ext uri="{FF2B5EF4-FFF2-40B4-BE49-F238E27FC236}">
                <a16:creationId xmlns:a16="http://schemas.microsoft.com/office/drawing/2014/main" id="{D4489E23-9F70-4A58-BC89-401B9D993A8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417762" y="2566988"/>
            <a:ext cx="495300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E61E407-5A21-49B0-B541-368D08457CC1}" type="datetime'''''+''''1''''''''''''''''''''''9''''.''''''''8''''''%'">
              <a:rPr lang="fr-FR" altLang="en-US" sz="800" b="1" smtClean="0">
                <a:effectLst/>
              </a:rPr>
              <a:pPr/>
              <a:t>+19.8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93" name="Espace réservé du texte 2">
            <a:extLst>
              <a:ext uri="{FF2B5EF4-FFF2-40B4-BE49-F238E27FC236}">
                <a16:creationId xmlns:a16="http://schemas.microsoft.com/office/drawing/2014/main" id="{C7A85204-D779-4BC9-8681-F532B631821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843212" y="1978025"/>
            <a:ext cx="495300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9B32358-7D9B-4404-923B-5B32D176A021}" type="datetime'+1''''7''''''''''''''''.''''8''''''%'''">
              <a:rPr lang="fr-FR" altLang="en-US" sz="800" b="1" smtClean="0">
                <a:effectLst/>
              </a:rPr>
              <a:pPr/>
              <a:t>+17.8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148" name="Title 1">
            <a:extLst>
              <a:ext uri="{FF2B5EF4-FFF2-40B4-BE49-F238E27FC236}">
                <a16:creationId xmlns:a16="http://schemas.microsoft.com/office/drawing/2014/main" id="{166C2580-7BC9-484F-8D0C-7A9FD06E5F01}"/>
              </a:ext>
            </a:extLst>
          </p:cNvPr>
          <p:cNvSpPr txBox="1">
            <a:spLocks/>
          </p:cNvSpPr>
          <p:nvPr/>
        </p:nvSpPr>
        <p:spPr>
          <a:xfrm>
            <a:off x="167780" y="147600"/>
            <a:ext cx="9537820" cy="25721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9pPr>
          </a:lstStyle>
          <a:p>
            <a:r>
              <a:rPr lang="fr-FR" kern="0" dirty="0" err="1"/>
              <a:t>ComplianceFR</a:t>
            </a:r>
            <a:endParaRPr lang="fr-FR" kern="0" dirty="0"/>
          </a:p>
          <a:p>
            <a:endParaRPr lang="fr-FR" kern="0" dirty="0"/>
          </a:p>
        </p:txBody>
      </p:sp>
    </p:spTree>
    <p:extLst>
      <p:ext uri="{BB962C8B-B14F-4D97-AF65-F5344CB8AC3E}">
        <p14:creationId xmlns:p14="http://schemas.microsoft.com/office/powerpoint/2010/main" val="3346278320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08690BD-9494-496C-A56C-12FDCA69AC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772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16" imgH="423" progId="TCLayout.ActiveDocument.1">
                  <p:embed/>
                </p:oleObj>
              </mc:Choice>
              <mc:Fallback>
                <p:oleObj name="think-cell Slide" r:id="rId35" imgW="416" imgH="42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08690BD-9494-496C-A56C-12FDCA69AC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149B75-29E2-4A32-B447-52C1973EDED0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fr-FR" sz="800" b="1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latin typeface="Trebuchet MS" panose="020B0603020202020204" pitchFamily="34" charset="0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FF45CDC5-AEFC-4177-BDED-9F577489C7DE}"/>
              </a:ext>
            </a:extLst>
          </p:cNvPr>
          <p:cNvSpPr/>
          <p:nvPr/>
        </p:nvSpPr>
        <p:spPr bwMode="auto">
          <a:xfrm>
            <a:off x="6359011" y="1264429"/>
            <a:ext cx="4175725" cy="3329396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4942BC8-F7FC-49E9-B296-00C71A2F51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C516A193-6377-4C41-89AD-32F9F4FC6EC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10810873"/>
              </p:ext>
            </p:extLst>
          </p:nvPr>
        </p:nvGraphicFramePr>
        <p:xfrm>
          <a:off x="311150" y="1930400"/>
          <a:ext cx="4175125" cy="2430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4A55795F-D62D-4477-9539-82C28D7342E9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V="1">
            <a:off x="615950" y="2308225"/>
            <a:ext cx="1336675" cy="303213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21F2F5BF-3771-483E-8D82-70890A49898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1952625" y="2517775"/>
            <a:ext cx="0" cy="4302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CCA631A9-EBE4-4A26-8A9C-141C022FFF04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952625" y="2517775"/>
            <a:ext cx="40798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B290A3BD-3963-4B7E-92DD-9A40BD16897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2360613" y="2517775"/>
            <a:ext cx="0" cy="2397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FB66F5B6-FEBB-4558-8E36-6FA0131C39A3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2436813" y="2268537"/>
            <a:ext cx="0" cy="48895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9F69BC4B-2350-4C37-9B91-5ACC1BCC5EBE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2436813" y="2268538"/>
            <a:ext cx="4064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0FC3E430-2D11-4503-8A56-046FC19B3A4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2843213" y="2268537"/>
            <a:ext cx="0" cy="2809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E547190D-30A4-433B-BDA8-6D4B2FF9D2F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1952626" y="1157287"/>
            <a:ext cx="2227263" cy="1150938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20ABFB18-92B3-4581-849D-D6C5F42002D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76250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D2797A6-7E92-4661-88C9-7B8BB5C872F7}" type="datetime'''2''''''''''0''''''''17'''''''''''''''''">
              <a:rPr lang="fr-FR" altLang="en-US" sz="1000" smtClean="0">
                <a:latin typeface="+mn-lt"/>
                <a:sym typeface="+mn-lt"/>
              </a:rPr>
              <a:pPr/>
              <a:t>2017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8FD9938C-F978-46AE-BB3A-EDEDFF7FD70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22338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59BBFB1-7FFF-4605-926A-C89B2D21CC56}" type="datetime'''''''''''''''''''''''''''2''''''0''''''18'''''''''''''''">
              <a:rPr lang="fr-FR" altLang="en-US" sz="1000" smtClean="0">
                <a:latin typeface="+mn-lt"/>
                <a:sym typeface="+mn-lt"/>
              </a:rPr>
              <a:pPr/>
              <a:t>201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0" name="Espace réservé du texte 2">
            <a:extLst>
              <a:ext uri="{FF2B5EF4-FFF2-40B4-BE49-F238E27FC236}">
                <a16:creationId xmlns:a16="http://schemas.microsoft.com/office/drawing/2014/main" id="{BD03CE83-5B80-4222-9DF4-8B8CDD6253F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846264" y="2986088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2D33E34-8C44-42A6-BE59-517FC36EBEC7}" type="datetime'''''''''''''''''''''6.''7'''">
              <a:rPr lang="fr-FR" altLang="en-US" sz="1000" smtClean="0"/>
              <a:pPr/>
              <a:t>6.7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46B3103C-B011-4050-9308-7682C2786A9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149600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CCB1818-59F8-4B8F-B15B-27A57DDF5B6A}" type="datetime'''''''''2''''''''''''''''''''''''''''''0''''''23'">
              <a:rPr lang="fr-FR" altLang="en-US" sz="1000" smtClean="0">
                <a:latin typeface="+mn-lt"/>
                <a:sym typeface="+mn-lt"/>
              </a:rPr>
              <a:pPr/>
              <a:t>2023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96" name="Espace réservé du texte 2">
            <a:extLst>
              <a:ext uri="{FF2B5EF4-FFF2-40B4-BE49-F238E27FC236}">
                <a16:creationId xmlns:a16="http://schemas.microsoft.com/office/drawing/2014/main" id="{96ACD372-FEF3-47D1-B300-A297F400E38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09589" y="3289300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748036A-2A38-4054-A036-57C18C0B7C7A}" type="datetime'''''''''''4''''''''''''.''''''''''''''''''''''''''9'''''''''''">
              <a:rPr lang="fr-FR" altLang="en-US" sz="1000" smtClean="0"/>
              <a:pPr/>
              <a:t>4.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5656A40E-94D2-4D19-9FCB-B644FC3F1A5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703513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FCED9CF-7853-4E0A-A6AA-86982676BB20}" type="datetime'''2''''''''''''''''''''0''''''''''''''''''2''2'''''''''">
              <a:rPr lang="fr-FR" altLang="en-US" sz="1000" smtClean="0">
                <a:latin typeface="+mn-lt"/>
                <a:sym typeface="+mn-lt"/>
              </a:rPr>
              <a:pPr/>
              <a:t>2022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24DBBEC1-2EBC-4025-BAED-993C2FA9EB1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366838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D6FE64A-A691-4C87-8136-D99646A4A2DA}" type="datetime'''''''''2''''''''''''''''''0''''''1''''''9'''''''''''">
              <a:rPr lang="fr-FR" altLang="en-US" sz="1000" smtClean="0">
                <a:latin typeface="+mn-lt"/>
                <a:sym typeface="+mn-lt"/>
              </a:rPr>
              <a:pPr/>
              <a:t>201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7" name="Espace réservé du texte 2">
            <a:extLst>
              <a:ext uri="{FF2B5EF4-FFF2-40B4-BE49-F238E27FC236}">
                <a16:creationId xmlns:a16="http://schemas.microsoft.com/office/drawing/2014/main" id="{6D559518-E8C1-46B8-9B52-9036FEE0B55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595688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3D46F5B-6E1E-4780-ABE9-AA68649CC542}" type="datetime'2''''0''''''''''''''''''''''''''24'''''''''''">
              <a:rPr lang="fr-FR" altLang="en-US" sz="1000" smtClean="0">
                <a:latin typeface="+mn-lt"/>
                <a:sym typeface="+mn-lt"/>
              </a:rPr>
              <a:pPr/>
              <a:t>2024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A9A0C130-CA17-448C-B406-947373E7697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812925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F5D9284-4ED2-45E4-8D27-96A0FB0EC0E5}" type="datetime'''''''''''2''''''0''''''2''''''''0'''''''''''''''">
              <a:rPr lang="fr-FR" altLang="en-US" sz="1000" smtClean="0">
                <a:latin typeface="+mn-lt"/>
                <a:sym typeface="+mn-lt"/>
              </a:rPr>
              <a:pPr/>
              <a:t>2020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FDD0A22E-D044-4738-A846-D69DD4EC1C7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259013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B7B7909-9B8B-4310-9085-E21499BFCA43}" type="datetime'''2''''''''0''''''''''''''21'''''''''''''">
              <a:rPr lang="fr-FR" altLang="en-US" sz="1000" smtClean="0">
                <a:latin typeface="+mn-lt"/>
                <a:sym typeface="+mn-lt"/>
              </a:rPr>
              <a:pPr/>
              <a:t>2021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8" name="Espace réservé du texte 2">
            <a:extLst>
              <a:ext uri="{FF2B5EF4-FFF2-40B4-BE49-F238E27FC236}">
                <a16:creationId xmlns:a16="http://schemas.microsoft.com/office/drawing/2014/main" id="{8C66A17F-8A18-4E0C-B25E-892F3E969D94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040188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C7F6E70-20F3-4D0E-9E21-94EA963F4DD9}" type="datetime'''''''''''2''''''0''''''''''''''''''''2''''''''''''5'''">
              <a:rPr lang="fr-FR" altLang="en-US" sz="1000" smtClean="0">
                <a:latin typeface="+mn-lt"/>
                <a:sym typeface="+mn-lt"/>
              </a:rPr>
              <a:pPr/>
              <a:t>2025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3" name="Espace réservé du texte 2">
            <a:extLst>
              <a:ext uri="{FF2B5EF4-FFF2-40B4-BE49-F238E27FC236}">
                <a16:creationId xmlns:a16="http://schemas.microsoft.com/office/drawing/2014/main" id="{19BD0584-735D-43A7-B72F-9CD40765384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149599" y="2360613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1972A39-ADB1-42B6-9BF8-CC33CD8CCD4C}" type="datetime'''''''''''1''''''''''0''.''4'''''''''''''''''''''''''''">
              <a:rPr lang="fr-FR" altLang="en-US" sz="1000" smtClean="0"/>
              <a:pPr/>
              <a:t>10.4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2" name="Espace réservé du texte 2">
            <a:extLst>
              <a:ext uri="{FF2B5EF4-FFF2-40B4-BE49-F238E27FC236}">
                <a16:creationId xmlns:a16="http://schemas.microsoft.com/office/drawing/2014/main" id="{41BAEDB9-ABF1-40DF-B0EE-8DAE21411DCE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736851" y="258762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B6A478E-CF65-4699-BC8A-C61CC38BDF96}" type="datetime'9''''''''''.''''''''''''''''''''''''''''''1'''">
              <a:rPr lang="fr-FR" altLang="en-US" sz="1000" smtClean="0"/>
              <a:pPr/>
              <a:t>9.1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98" name="Espace réservé du texte 2">
            <a:extLst>
              <a:ext uri="{FF2B5EF4-FFF2-40B4-BE49-F238E27FC236}">
                <a16:creationId xmlns:a16="http://schemas.microsoft.com/office/drawing/2014/main" id="{1DE28F63-AB22-4CC0-A2FB-42770F0DA4C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955676" y="311467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1B5FDAA-65EE-4979-BD54-64E5A6413F67}" type="datetime'''''''''''''''''''''''''''''''''''''''''''5''''.9'''">
              <a:rPr lang="fr-FR" altLang="en-US" sz="1000" smtClean="0"/>
              <a:pPr/>
              <a:t>5.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99" name="Espace réservé du texte 2">
            <a:extLst>
              <a:ext uri="{FF2B5EF4-FFF2-40B4-BE49-F238E27FC236}">
                <a16:creationId xmlns:a16="http://schemas.microsoft.com/office/drawing/2014/main" id="{B7012B39-405B-48CB-AB07-FC31E3EAF9A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400176" y="2900363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5B4AC3E-A952-4D50-916B-1F9935D62FC5}" type="datetime'''''''''''''''7.''2'''''''''''''''''''''">
              <a:rPr lang="fr-FR" altLang="en-US" sz="1000" smtClean="0"/>
              <a:pPr/>
              <a:t>7.2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1" name="Espace réservé du texte 2">
            <a:extLst>
              <a:ext uri="{FF2B5EF4-FFF2-40B4-BE49-F238E27FC236}">
                <a16:creationId xmlns:a16="http://schemas.microsoft.com/office/drawing/2014/main" id="{DE44398E-CA7D-423C-B470-AEEC17B9CEF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292351" y="2795588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40AF74F-AB50-4DE1-8F53-9B48D2D53C1A}" type="datetime'''''''''''''''''''''''''''''''''''''7.8'''">
              <a:rPr lang="fr-FR" altLang="en-US" sz="1000" smtClean="0"/>
              <a:pPr/>
              <a:t>7.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4" name="Espace réservé du texte 2">
            <a:extLst>
              <a:ext uri="{FF2B5EF4-FFF2-40B4-BE49-F238E27FC236}">
                <a16:creationId xmlns:a16="http://schemas.microsoft.com/office/drawing/2014/main" id="{ACB2F137-2C20-476F-8A5F-CB5C1DB3BAB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595687" y="2108200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7DE06C9-54E3-4059-A541-7CBC92FDE0E5}" type="datetime'''''''''''''''''''''''''''''''11''''''''.''''9'''''">
              <a:rPr lang="fr-FR" altLang="en-US" sz="1000" smtClean="0"/>
              <a:pPr/>
              <a:t>11.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5" name="Espace réservé du texte 2">
            <a:extLst>
              <a:ext uri="{FF2B5EF4-FFF2-40B4-BE49-F238E27FC236}">
                <a16:creationId xmlns:a16="http://schemas.microsoft.com/office/drawing/2014/main" id="{F05CE6D0-53F8-4866-BBE8-08E714873ED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040187" y="1835150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D2CCEDC-DFED-4490-AC60-C972BA07DA5E}" type="datetime'''''''13''''''''''''''''''''''''''''''''''.''''''''''''''6'''">
              <a:rPr lang="fr-FR" altLang="en-US" sz="1000" smtClean="0"/>
              <a:pPr/>
              <a:t>13.6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83" name="Espace réservé du texte 2">
            <a:extLst>
              <a:ext uri="{FF2B5EF4-FFF2-40B4-BE49-F238E27FC236}">
                <a16:creationId xmlns:a16="http://schemas.microsoft.com/office/drawing/2014/main" id="{B88B1108-0092-4AF0-9274-78C36552DF3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36637" y="2373313"/>
            <a:ext cx="495300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3EAF782-62D6-47A4-8C77-9DA71EC954AB}" type="datetime'''''''''''''''''+''''''''''''''''1''''''1''.''''''''2''''%'''">
              <a:rPr lang="fr-FR" altLang="en-US" sz="800" b="1" smtClean="0">
                <a:effectLst/>
              </a:rPr>
              <a:pPr/>
              <a:t>+11.2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120" name="Espace réservé du texte 2">
            <a:extLst>
              <a:ext uri="{FF2B5EF4-FFF2-40B4-BE49-F238E27FC236}">
                <a16:creationId xmlns:a16="http://schemas.microsoft.com/office/drawing/2014/main" id="{ACC55E45-D91A-4E5A-B55D-CC1C31EE388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908174" y="2432050"/>
            <a:ext cx="495300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D85C572-87E5-4A26-AB14-8247CBA263F3}" type="datetime'''''''''+''1''''''7''''''''''''''''''''''''''''''''''.1''%'''">
              <a:rPr lang="fr-FR" altLang="en-US" sz="800" b="1" smtClean="0">
                <a:effectLst/>
              </a:rPr>
              <a:pPr/>
              <a:t>+17.1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125" name="Espace réservé du texte 2">
            <a:extLst>
              <a:ext uri="{FF2B5EF4-FFF2-40B4-BE49-F238E27FC236}">
                <a16:creationId xmlns:a16="http://schemas.microsoft.com/office/drawing/2014/main" id="{D4489E23-9F70-4A58-BC89-401B9D993A8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392362" y="2182813"/>
            <a:ext cx="495300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808CC2C-0AE5-4AAC-8E18-77058B19B9C7}" type="datetime'''''+''''''''1''6''''''''.''''''0''''''''%'''''''''">
              <a:rPr lang="fr-FR" altLang="en-US" sz="800" b="1" smtClean="0">
                <a:effectLst/>
              </a:rPr>
              <a:pPr/>
              <a:t>+16.0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93" name="Espace réservé du texte 2">
            <a:extLst>
              <a:ext uri="{FF2B5EF4-FFF2-40B4-BE49-F238E27FC236}">
                <a16:creationId xmlns:a16="http://schemas.microsoft.com/office/drawing/2014/main" id="{C7A85204-D779-4BC9-8681-F532B631821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817812" y="1646238"/>
            <a:ext cx="495300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2E58309-8ADB-4B17-B7A0-9EC7E98D41FB}" type="datetime'''+''1''''''5''''.''3''''''''''''''''''%'''''''''''''''''''''">
              <a:rPr lang="fr-FR" altLang="en-US" sz="800" b="1" smtClean="0">
                <a:effectLst/>
              </a:rPr>
              <a:pPr/>
              <a:t>+15.3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148" name="Title 1">
            <a:extLst>
              <a:ext uri="{FF2B5EF4-FFF2-40B4-BE49-F238E27FC236}">
                <a16:creationId xmlns:a16="http://schemas.microsoft.com/office/drawing/2014/main" id="{166C2580-7BC9-484F-8D0C-7A9FD06E5F01}"/>
              </a:ext>
            </a:extLst>
          </p:cNvPr>
          <p:cNvSpPr txBox="1">
            <a:spLocks/>
          </p:cNvSpPr>
          <p:nvPr/>
        </p:nvSpPr>
        <p:spPr>
          <a:xfrm>
            <a:off x="167780" y="147600"/>
            <a:ext cx="9537820" cy="25721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9pPr>
          </a:lstStyle>
          <a:p>
            <a:r>
              <a:rPr lang="fr-FR" kern="0" dirty="0"/>
              <a:t>Compliance BNL</a:t>
            </a:r>
          </a:p>
          <a:p>
            <a:endParaRPr lang="fr-FR" kern="0" dirty="0"/>
          </a:p>
          <a:p>
            <a:endParaRPr lang="fr-FR" kern="0" dirty="0"/>
          </a:p>
        </p:txBody>
      </p:sp>
    </p:spTree>
    <p:extLst>
      <p:ext uri="{BB962C8B-B14F-4D97-AF65-F5344CB8AC3E}">
        <p14:creationId xmlns:p14="http://schemas.microsoft.com/office/powerpoint/2010/main" val="1644444161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9AE5294-21FB-443B-AC9E-47D53F9097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424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6" imgH="423" progId="TCLayout.ActiveDocument.1">
                  <p:embed/>
                </p:oleObj>
              </mc:Choice>
              <mc:Fallback>
                <p:oleObj name="think-cell Slide" r:id="rId37" imgW="416" imgH="423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9AE5294-21FB-443B-AC9E-47D53F909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41" hidden="1">
            <a:extLst>
              <a:ext uri="{FF2B5EF4-FFF2-40B4-BE49-F238E27FC236}">
                <a16:creationId xmlns:a16="http://schemas.microsoft.com/office/drawing/2014/main" id="{1CDC1D26-5559-48E5-A3EA-95A60632EA3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fr-FR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latin typeface="Trebuchet MS" panose="020B0603020202020204" pitchFamily="34" charset="0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B7E987-01B8-492B-B78E-0EA088CC8C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Manageo</a:t>
            </a:r>
            <a:br>
              <a:rPr lang="fr-FR" dirty="0"/>
            </a:br>
            <a:endParaRPr lang="fr-FR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CB9626-71CD-4BA3-B2F8-3277490C0D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1BC0B30-ED35-4001-A1D6-139AF8FB2FD8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5662613" y="1176338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CC86932-1395-4059-86B8-87E19AB49B34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024188" y="1446213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E69C7FE-B306-4E03-8A12-629329FE643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5003800" y="1176338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B88B253-97A1-48F6-AD5F-D88ADB388518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642225" y="1138238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053F143-8075-4B34-B8B8-C33571F2C88A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4343400" y="2865438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2064129-2E28-40C1-A365-3EAF8D69273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6981825" y="2832100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85DF3CB-9384-404E-AB5A-ABDC96776C30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3684588" y="1411288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E64383D-B260-4ED8-A534-94181DD7FFF2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6323013" y="1211263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F9F5AAF3-9E32-49C3-BA45-4B173798A0A8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89403183"/>
              </p:ext>
            </p:extLst>
          </p:nvPr>
        </p:nvGraphicFramePr>
        <p:xfrm>
          <a:off x="2428875" y="1055688"/>
          <a:ext cx="6100763" cy="4638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2D9085D-E074-4287-9CB1-C0A337A374E8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>
            <a:off x="6797675" y="1185863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6AD1A1B-4041-4EFF-AF08-BEAC86A7C476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 flipV="1">
            <a:off x="7458075" y="2755900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7AEE2A3D-8E34-47ED-A744-162D7F6FF665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 flipV="1">
            <a:off x="6138863" y="1193800"/>
            <a:ext cx="0" cy="4286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D50359F6-228C-411C-A49B-4FA415B15229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V="1">
            <a:off x="3500438" y="1428750"/>
            <a:ext cx="0" cy="4286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FF0B8F1-CA42-46B3-A1F6-72079A7B0D28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4159250" y="1385888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4A70354-3411-4330-B0CB-7162769D8411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 flipV="1">
            <a:off x="4819650" y="2789238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3" name="Espace réservé du texte 2">
            <a:extLst>
              <a:ext uri="{FF2B5EF4-FFF2-40B4-BE49-F238E27FC236}">
                <a16:creationId xmlns:a16="http://schemas.microsoft.com/office/drawing/2014/main" id="{84E3CE5E-D6F1-44D8-A0DB-1B49B448B06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307263" y="2857500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FB6B9F3-DA8F-43FB-A3E7-C1099ACA4F17}" type="datetime'''''3''''''''''''''''''''''''''''''.''''''''''6'''''''''''">
              <a:rPr lang="fr-FR" altLang="en-US" smtClean="0"/>
              <a:pPr/>
              <a:t>3.6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67" name="Espace réservé du texte 2">
            <a:extLst>
              <a:ext uri="{FF2B5EF4-FFF2-40B4-BE49-F238E27FC236}">
                <a16:creationId xmlns:a16="http://schemas.microsoft.com/office/drawing/2014/main" id="{3FD5BDCC-A5B7-4998-8DC7-4D6909231A1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349625" y="1471613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0C7387F-A567-46F2-A763-43554C3D05B3}" type="datetime'''''''''''''0''''''''''''''''''''''''''''''.''''1'''''">
              <a:rPr lang="fr-FR" altLang="en-US" smtClean="0"/>
              <a:pPr/>
              <a:t>0.1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1" name="Espace réservé du texte 2">
            <a:extLst>
              <a:ext uri="{FF2B5EF4-FFF2-40B4-BE49-F238E27FC236}">
                <a16:creationId xmlns:a16="http://schemas.microsoft.com/office/drawing/2014/main" id="{B8734C2E-BE04-4B3A-BAA9-6C1D8581526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954713" y="1236663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841D69E-5CFF-4BA1-9652-3318452340F8}" type="datetime'''''''''''''''''''''''''''''-''''''0.1'''''''">
              <a:rPr lang="fr-FR" altLang="en-US" smtClean="0"/>
              <a:pPr/>
              <a:t>-0.1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7" name="Espace réservé du texte 2">
            <a:extLst>
              <a:ext uri="{FF2B5EF4-FFF2-40B4-BE49-F238E27FC236}">
                <a16:creationId xmlns:a16="http://schemas.microsoft.com/office/drawing/2014/main" id="{2120A82C-648E-40A2-A75A-D6C8537E9C9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808663" y="5670550"/>
            <a:ext cx="6619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39674E4-C2D0-4D02-B85D-08D0683CC9A9}" type="datetime'''''''LF''''''''''''''''''''''L''''''''''''20''''''''1''''8'''">
              <a:rPr lang="fr-FR" altLang="en-US" smtClean="0"/>
              <a:pPr/>
              <a:t>LFL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2" name="Espace réservé du texte 2">
            <a:extLst>
              <a:ext uri="{FF2B5EF4-FFF2-40B4-BE49-F238E27FC236}">
                <a16:creationId xmlns:a16="http://schemas.microsoft.com/office/drawing/2014/main" id="{6A5EF5DD-3BAC-4E5E-B000-376F8E699F7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613525" y="973138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B1D73C9-1509-4D7C-BE2E-9D12BA32CE3D}" type="datetime'''-''''''''''''''''''3''''''''.''''''''4'''''''''">
              <a:rPr lang="fr-FR" altLang="en-US" smtClean="0"/>
              <a:pPr/>
              <a:t>-3.4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2" name="Espace réservé du texte 2">
            <a:extLst>
              <a:ext uri="{FF2B5EF4-FFF2-40B4-BE49-F238E27FC236}">
                <a16:creationId xmlns:a16="http://schemas.microsoft.com/office/drawing/2014/main" id="{4DE26C2D-BCED-4E76-91EF-6BA80281921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557963" y="5670550"/>
            <a:ext cx="4794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21DBFE4-DFE1-4937-9F38-8A4CF9EA4014}" type="datetime'''''''''C''''''''h''''u''''''''r''''''n ''2''0''''1''9'">
              <a:rPr lang="fr-FR" altLang="en-US" smtClean="0"/>
              <a:pPr/>
              <a:t>Churn 201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3" name="Espace réservé du texte 2">
            <a:extLst>
              <a:ext uri="{FF2B5EF4-FFF2-40B4-BE49-F238E27FC236}">
                <a16:creationId xmlns:a16="http://schemas.microsoft.com/office/drawing/2014/main" id="{FB71B4E2-CD7D-4ED9-B59C-1DAEEF4D752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264400" y="5670550"/>
            <a:ext cx="3873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C9642D1-BBC5-4DA4-B40E-B2B8B7B06626}" type="datetime'''''N''e''w'''' ''l''o''''''''''''''''go'''''' ''2''''''0''19'">
              <a:rPr lang="fr-FR" altLang="en-US" smtClean="0"/>
              <a:pPr/>
              <a:t>New logo 201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1" name="Espace réservé du texte 2">
            <a:extLst>
              <a:ext uri="{FF2B5EF4-FFF2-40B4-BE49-F238E27FC236}">
                <a16:creationId xmlns:a16="http://schemas.microsoft.com/office/drawing/2014/main" id="{2EFB888C-24EA-4799-91EC-4D24BB2A552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923213" y="5670550"/>
            <a:ext cx="387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8B90A9F-6EB5-4195-BAA3-6431C94B1458}" type="datetime'''2''''''''''''''''''0''''''''''''19'''''''''''''''''''''''">
              <a:rPr lang="fr-FR" altLang="en-US" smtClean="0"/>
              <a:pPr/>
              <a:t>201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5" name="Espace réservé du texte 2">
            <a:extLst>
              <a:ext uri="{FF2B5EF4-FFF2-40B4-BE49-F238E27FC236}">
                <a16:creationId xmlns:a16="http://schemas.microsoft.com/office/drawing/2014/main" id="{00714E26-EC36-4A85-960D-3EDA17D5A27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284788" y="5670550"/>
            <a:ext cx="387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380EAB6-2CBF-4C15-93A1-22EF443DA563}" type="datetime'''''''''''''''2''0''''''''''''''''''''''''''18'''''''''''''">
              <a:rPr lang="fr-FR" altLang="en-US" smtClean="0"/>
              <a:pPr/>
              <a:t>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85D2B09C-7410-4FEA-B6D7-C4A5A091ADA8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625975" y="5670550"/>
            <a:ext cx="3873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CC47306-8A65-40AA-A455-07F25E748605}" type="datetime'''''''N''ew'' ''''l''''''''og''''''o'' ''201''''''8'''''">
              <a:rPr lang="fr-FR" altLang="en-US" smtClean="0"/>
              <a:pPr/>
              <a:t>New logo 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69" name="Espace réservé du texte 2">
            <a:extLst>
              <a:ext uri="{FF2B5EF4-FFF2-40B4-BE49-F238E27FC236}">
                <a16:creationId xmlns:a16="http://schemas.microsoft.com/office/drawing/2014/main" id="{2B45617E-18DB-4E4A-81BE-72286154FCC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668838" y="2890838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9CAE063-FD47-4B1B-8317-8457029207EE}" type="datetime'''3''''''.''''''''''''''6'''''''''''''''''''''''''''''">
              <a:rPr lang="fr-FR" altLang="en-US" smtClean="0"/>
              <a:pPr/>
              <a:t>3.6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FED6F1E6-6643-4D4B-9413-16622D2E3CE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919538" y="5670550"/>
            <a:ext cx="4794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00B7245-17FD-4BE0-BCAB-38364277DC94}" type="datetime'''Ch''ur''''''''n ''''''''''2''''0''''''1''''8'''''''''''">
              <a:rPr lang="fr-FR" altLang="en-US" smtClean="0"/>
              <a:pPr/>
              <a:t>Churn 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68" name="Espace réservé du texte 2">
            <a:extLst>
              <a:ext uri="{FF2B5EF4-FFF2-40B4-BE49-F238E27FC236}">
                <a16:creationId xmlns:a16="http://schemas.microsoft.com/office/drawing/2014/main" id="{CED88030-701E-499A-A464-3C34C5228A3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975100" y="1173163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678C74F-B4F2-420B-8071-572520C2D0D8}" type="datetime'''''''''-''3''.1'''''''''''''''''''''''''''">
              <a:rPr lang="fr-FR" altLang="en-US" smtClean="0"/>
              <a:pPr/>
              <a:t>-3.1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6" name="Espace réservé du texte 2">
            <a:extLst>
              <a:ext uri="{FF2B5EF4-FFF2-40B4-BE49-F238E27FC236}">
                <a16:creationId xmlns:a16="http://schemas.microsoft.com/office/drawing/2014/main" id="{33094E6A-D62C-4FB5-AA4B-9A8F898CA1E7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170238" y="5670550"/>
            <a:ext cx="6619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790F2DF-303B-4A21-A2A2-CDB68D904737}" type="datetime'''L''''F''L2''''0''1''''''''''''''7'''''''''''''''''''">
              <a:rPr lang="fr-FR" altLang="en-US" smtClean="0"/>
              <a:pPr/>
              <a:t>LFL2017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65" name="Espace réservé du texte 2">
            <a:extLst>
              <a:ext uri="{FF2B5EF4-FFF2-40B4-BE49-F238E27FC236}">
                <a16:creationId xmlns:a16="http://schemas.microsoft.com/office/drawing/2014/main" id="{5C34D846-5CB4-44D6-A90D-D126F6A15053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689225" y="1208088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DAA6F07-ED3C-430B-AB63-703B7D56E6F2}" type="datetime'''''''''''''8''''''''''''''''''''''''''''''.''''''8'''">
              <a:rPr lang="fr-FR" altLang="en-US" smtClean="0"/>
              <a:pPr/>
              <a:t>8.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51" name="Espace réservé du texte 2">
            <a:extLst>
              <a:ext uri="{FF2B5EF4-FFF2-40B4-BE49-F238E27FC236}">
                <a16:creationId xmlns:a16="http://schemas.microsoft.com/office/drawing/2014/main" id="{D6D4E251-4A0D-489C-BDDD-8B1A42567591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966075" y="900113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2E8D534-A7E3-4D3A-93E1-AD9E84EF9128}" type="datetime'''''''''''''''''''''''''''''''''''9''''''.''''4'''">
              <a:rPr lang="fr-FR" altLang="en-US" smtClean="0"/>
              <a:pPr/>
              <a:t>9.4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D7A4E1A1-F8E4-4750-9AF5-5058496C409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327650" y="938213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D458509-6134-4D94-B400-BBF5D38213D1}" type="datetime'9''''.''''''''''''''''''''''''''''''''''''''''''''4'''''''">
              <a:rPr lang="fr-FR" altLang="en-US" smtClean="0"/>
              <a:pPr/>
              <a:t>9.4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8" name="Espace réservé du texte 2">
            <a:extLst>
              <a:ext uri="{FF2B5EF4-FFF2-40B4-BE49-F238E27FC236}">
                <a16:creationId xmlns:a16="http://schemas.microsoft.com/office/drawing/2014/main" id="{97449C5F-EFB9-4A77-BB80-08ACD8569C4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2646363" y="5670550"/>
            <a:ext cx="387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8351B90-5337-4FA2-99B7-7E261E50E5DE}" type="datetime'''''''''''''''''''''''''2''0''''''''''''''''''1''''''''7'''''">
              <a:rPr lang="fr-FR" altLang="en-US" smtClean="0"/>
              <a:pPr/>
              <a:t>2017</a:t>
            </a:fld>
            <a:endParaRPr lang="fr-FR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7364384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9AE5294-21FB-443B-AC9E-47D53F9097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8767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416" imgH="423" progId="TCLayout.ActiveDocument.1">
                  <p:embed/>
                </p:oleObj>
              </mc:Choice>
              <mc:Fallback>
                <p:oleObj name="think-cell Slide" r:id="rId52" imgW="416" imgH="423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9AE5294-21FB-443B-AC9E-47D53F909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41" hidden="1">
            <a:extLst>
              <a:ext uri="{FF2B5EF4-FFF2-40B4-BE49-F238E27FC236}">
                <a16:creationId xmlns:a16="http://schemas.microsoft.com/office/drawing/2014/main" id="{1CDC1D26-5559-48E5-A3EA-95A60632EA3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fr-FR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latin typeface="Trebuchet MS" panose="020B0603020202020204" pitchFamily="34" charset="0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B7E987-01B8-492B-B78E-0EA088CC8C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BN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CB9626-71CD-4BA3-B2F8-3277490C0D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CC86932-1395-4059-86B8-87E19AB49B34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063625" y="1204913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E64383D-B260-4ED8-A534-94181DD7FFF2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362450" y="1554163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1BC0B30-ED35-4001-A1D6-139AF8FB2FD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702050" y="1311275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85DF3CB-9384-404E-AB5A-ABDC96776C30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724025" y="1379538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60FA607-6CB1-4897-98EF-EBA7EAD6C28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659688" y="2154238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053F143-8075-4B34-B8B8-C33571F2C88A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2382838" y="1782763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B88B253-97A1-48F6-AD5F-D88ADB388518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5681663" y="1304925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E69C7FE-B306-4E03-8A12-629329FE6434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3043238" y="1311275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2064129-2E28-40C1-A365-3EAF8D692731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5021263" y="1858963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458EA12-4C08-42D5-85F6-D0BBEC493261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7000875" y="1687513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21D8B75-C883-4944-B136-358BD997DDA3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8320088" y="1700213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1267229-A759-41B5-B57C-85276F403621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340475" y="1304925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E8040A38-3476-4F75-B06D-9235AF1FF87A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01211411"/>
              </p:ext>
            </p:extLst>
          </p:nvPr>
        </p:nvGraphicFramePr>
        <p:xfrm>
          <a:off x="468313" y="1122363"/>
          <a:ext cx="8739187" cy="4638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4A70354-3411-4330-B0CB-7162769D8411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 flipV="1">
            <a:off x="2859088" y="1706563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2D9085D-E074-4287-9CB1-C0A337A374E8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4837113" y="1528763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EC9B605C-27F3-4ECE-9C8E-8D5F8CB12AAB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 flipV="1">
            <a:off x="8135938" y="2078038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6AD1A1B-4041-4EFF-AF08-BEAC86A7C476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 flipV="1">
            <a:off x="5497513" y="1782763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D50359F6-228C-411C-A49B-4FA415B15229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V="1">
            <a:off x="1539875" y="1303337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7AEE2A3D-8E34-47ED-A744-162D7F6FF665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 flipV="1">
            <a:off x="4178300" y="1477962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FF0B8F1-CA42-46B3-A1F6-72079A7B0D28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>
            <a:off x="2198688" y="1354138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C392ED1-FF98-4357-80E3-B092B35EC892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 flipV="1">
            <a:off x="6816725" y="1611313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5DAF424-2142-44D7-929C-3F9158F27E56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>
            <a:off x="7475538" y="1662113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08514D1F-E741-4343-B2BB-920A0046EF8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623050" y="5737225"/>
            <a:ext cx="3873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F26F5B3-FE71-4B4F-B78B-B74F6C325357}" type="datetime'''''LF''''''''L'' ''''20''1''''''''8'''''''''''''''''''">
              <a:rPr lang="fr-FR" altLang="en-US" smtClean="0"/>
              <a:pPr/>
              <a:t>LFL 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FED6F1E6-6643-4D4B-9413-16622D2E3CE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958975" y="5737225"/>
            <a:ext cx="4794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A240BC2-8DB8-4BCC-8194-7890D219E8E5}" type="datetime'''Chu''r''''''n ''''''''2''''''''''0''''''1''''''''7'''">
              <a:rPr lang="fr-FR" altLang="en-US" smtClean="0"/>
              <a:pPr/>
              <a:t>Churn 2017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3" name="Espace réservé du texte 2">
            <a:extLst>
              <a:ext uri="{FF2B5EF4-FFF2-40B4-BE49-F238E27FC236}">
                <a16:creationId xmlns:a16="http://schemas.microsoft.com/office/drawing/2014/main" id="{FB71B4E2-CD7D-4ED9-B59C-1DAEEF4D752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164138" y="5737225"/>
            <a:ext cx="6667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3210930-0B6A-4DCE-894B-22E0E46FB180}" type="datetime'''N''''ew'''''''' bu''''s''in''''''e''''ss'' 2''''''''0''18'">
              <a:rPr lang="fr-FR" altLang="en-US" smtClean="0"/>
              <a:pPr/>
              <a:t>New business 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8" name="Espace réservé du texte 2">
            <a:extLst>
              <a:ext uri="{FF2B5EF4-FFF2-40B4-BE49-F238E27FC236}">
                <a16:creationId xmlns:a16="http://schemas.microsoft.com/office/drawing/2014/main" id="{97449C5F-EFB9-4A77-BB80-08ACD8569C4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85800" y="5737225"/>
            <a:ext cx="387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BCD842D-BA30-4015-93E6-7583345F93D1}" type="datetime'''''2''01''''''''''''''''''''''''''6'">
              <a:rPr lang="fr-FR" altLang="en-US" smtClean="0"/>
              <a:pPr/>
              <a:t>2016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67" name="Espace réservé du texte 2">
            <a:extLst>
              <a:ext uri="{FF2B5EF4-FFF2-40B4-BE49-F238E27FC236}">
                <a16:creationId xmlns:a16="http://schemas.microsoft.com/office/drawing/2014/main" id="{3FD5BDCC-A5B7-4998-8DC7-4D6909231A1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355725" y="1404938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051AE68-953A-440A-982A-6134B49B53DD}" type="datetime'''''-1,''''''''''''''''''''''''''''''''''''''9'''''">
              <a:rPr lang="fr-FR" altLang="en-US" smtClean="0"/>
              <a:pPr/>
              <a:t>-1,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66" name="Espace réservé du texte 2">
            <a:extLst>
              <a:ext uri="{FF2B5EF4-FFF2-40B4-BE49-F238E27FC236}">
                <a16:creationId xmlns:a16="http://schemas.microsoft.com/office/drawing/2014/main" id="{BEFA5DD4-8005-4BC0-B81D-BE2A10F0A78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596313" y="1462088"/>
            <a:ext cx="396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E9BDAE7-D77A-4D56-9D71-7BBBE26F8666}" type="datetime'''''42'''''''''''''''''''''''''''''''',''''''''''''5'''''''">
              <a:rPr lang="fr-FR" altLang="en-US" smtClean="0">
                <a:latin typeface="+mn-lt"/>
                <a:sym typeface="+mn-lt"/>
              </a:rPr>
              <a:pPr/>
              <a:t>42,5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7" name="Espace réservé du texte 2">
            <a:extLst>
              <a:ext uri="{FF2B5EF4-FFF2-40B4-BE49-F238E27FC236}">
                <a16:creationId xmlns:a16="http://schemas.microsoft.com/office/drawing/2014/main" id="{0D8561B6-7236-4464-86AB-9E5F521CC4E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985125" y="2179638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AD8BA53-EC3C-48D8-A38F-B3BB95BAF9F3}" type="datetime'''''''''''''''''''''''''''''''''''4'',''9'''''''">
              <a:rPr lang="fr-FR" altLang="en-US" smtClean="0"/>
              <a:pPr/>
              <a:t>4,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1" name="Espace réservé du texte 2">
            <a:extLst>
              <a:ext uri="{FF2B5EF4-FFF2-40B4-BE49-F238E27FC236}">
                <a16:creationId xmlns:a16="http://schemas.microsoft.com/office/drawing/2014/main" id="{2EFB888C-24EA-4799-91EC-4D24BB2A552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962650" y="5737225"/>
            <a:ext cx="387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D3067EB-06D2-46E5-AA55-1D02112D4CCE}" type="datetime'''''2''''''''0''''''''''''''''''''''''1''8'''''''''''''''">
              <a:rPr lang="fr-FR" altLang="en-US" smtClean="0"/>
              <a:pPr/>
              <a:t>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2" name="Espace réservé du texte 2">
            <a:extLst>
              <a:ext uri="{FF2B5EF4-FFF2-40B4-BE49-F238E27FC236}">
                <a16:creationId xmlns:a16="http://schemas.microsoft.com/office/drawing/2014/main" id="{6A5EF5DD-3BAC-4E5E-B000-376F8E699F71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652963" y="1316038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1C68C08-8643-4D74-86BA-E74752887343}" type="datetime'''''-''''''''''3'',''''''''''''''''''''''3'">
              <a:rPr lang="fr-FR" altLang="en-US" smtClean="0"/>
              <a:pPr/>
              <a:t>-3,3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63" name="Espace réservé du texte 2">
            <a:extLst>
              <a:ext uri="{FF2B5EF4-FFF2-40B4-BE49-F238E27FC236}">
                <a16:creationId xmlns:a16="http://schemas.microsoft.com/office/drawing/2014/main" id="{259E7688-FFFF-4E3F-AA08-89827CC3877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957888" y="1066800"/>
            <a:ext cx="396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96B16B6-DFF5-4954-A7EF-D8847FA1C103}" type="datetime'''''''''''''''''''4''''''''''''6,''''''''''''''''''''7'''''''">
              <a:rPr lang="fr-FR" altLang="en-US" smtClean="0">
                <a:latin typeface="+mn-lt"/>
                <a:sym typeface="+mn-lt"/>
              </a:rPr>
              <a:pPr/>
              <a:t>46,7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5" name="Espace réservé du texte 2">
            <a:extLst>
              <a:ext uri="{FF2B5EF4-FFF2-40B4-BE49-F238E27FC236}">
                <a16:creationId xmlns:a16="http://schemas.microsoft.com/office/drawing/2014/main" id="{4160291E-B783-4FDD-A513-8686062EE52E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632574" y="1712913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60FAB99-39C8-429B-BA73-994AAD71CFD9}" type="datetime'''''''''''''''''''-''4,1'''''''''''''">
              <a:rPr lang="fr-FR" altLang="en-US" smtClean="0"/>
              <a:pPr/>
              <a:t>-4,1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6" name="Espace réservé du texte 2">
            <a:extLst>
              <a:ext uri="{FF2B5EF4-FFF2-40B4-BE49-F238E27FC236}">
                <a16:creationId xmlns:a16="http://schemas.microsoft.com/office/drawing/2014/main" id="{644F69EF-A319-4637-8C83-7C1750CEDA2E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291388" y="1449388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A9A8297-A257-4C1A-AF28-3E1044144197}" type="datetime'''''''''-''''''''5'''''''''',''''''0'''''''''''''''">
              <a:rPr lang="fr-FR" altLang="en-US" smtClean="0"/>
              <a:pPr/>
              <a:t>-5,0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41" name="Espace réservé du texte 2">
            <a:extLst>
              <a:ext uri="{FF2B5EF4-FFF2-40B4-BE49-F238E27FC236}">
                <a16:creationId xmlns:a16="http://schemas.microsoft.com/office/drawing/2014/main" id="{C152E67D-402B-4387-8DB5-DF4CAE9F853F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235825" y="5737225"/>
            <a:ext cx="4794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17F15D0-EAC9-40B1-9821-5E88E48396B3}" type="datetime'''''''''''''''''''''C''''''h''''''ur''''n'''''' 2''0''''19'''">
              <a:rPr lang="fr-FR" altLang="en-US" smtClean="0"/>
              <a:pPr/>
              <a:t>Churn 201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1" name="Espace réservé du texte 2">
            <a:extLst>
              <a:ext uri="{FF2B5EF4-FFF2-40B4-BE49-F238E27FC236}">
                <a16:creationId xmlns:a16="http://schemas.microsoft.com/office/drawing/2014/main" id="{B8734C2E-BE04-4B3A-BAA9-6C1D8581526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3994149" y="1579563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FEB384B-5CA0-4E02-83EB-1D531637ABF6}" type="datetime'-''2'''',''''''''''''''''6'''">
              <a:rPr lang="fr-FR" altLang="en-US" smtClean="0"/>
              <a:pPr/>
              <a:t>-2,6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3" name="Espace réservé du texte 2">
            <a:extLst>
              <a:ext uri="{FF2B5EF4-FFF2-40B4-BE49-F238E27FC236}">
                <a16:creationId xmlns:a16="http://schemas.microsoft.com/office/drawing/2014/main" id="{84E3CE5E-D6F1-44D8-A0DB-1B49B448B06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346700" y="1884363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648CA36-C6CB-4A42-85E2-661DD0064AEC}" type="datetime'''''5'''''''''''''''''''''''''''',''9'''''''''''''''''''''">
              <a:rPr lang="fr-FR" altLang="en-US" smtClean="0"/>
              <a:pPr/>
              <a:t>5,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40" name="Espace réservé du texte 2">
            <a:extLst>
              <a:ext uri="{FF2B5EF4-FFF2-40B4-BE49-F238E27FC236}">
                <a16:creationId xmlns:a16="http://schemas.microsoft.com/office/drawing/2014/main" id="{39A82838-48B4-4A6D-BE00-031201B45A51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802563" y="5737225"/>
            <a:ext cx="6667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88B8BEB-0F72-4909-BAE8-8308EECC2412}" type="datetime'N''e''''''w'''''' ''''''''bus''i''''''''''''''''n''ess 2019'''">
              <a:rPr lang="fr-FR" altLang="en-US" smtClean="0"/>
              <a:pPr/>
              <a:t>New business 201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7" name="Espace réservé du texte 2">
            <a:extLst>
              <a:ext uri="{FF2B5EF4-FFF2-40B4-BE49-F238E27FC236}">
                <a16:creationId xmlns:a16="http://schemas.microsoft.com/office/drawing/2014/main" id="{2120A82C-648E-40A2-A75A-D6C8537E9C96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3984625" y="5737225"/>
            <a:ext cx="3873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58BD3DC-062A-44C2-8FEC-D3B07106E74A}" type="datetime'''''''''''L''''''''''F''''L ''''''''2''''''0''1''''''7'">
              <a:rPr lang="fr-FR" altLang="en-US" smtClean="0"/>
              <a:pPr/>
              <a:t>LFL 2017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0" name="Espace réservé du texte 2">
            <a:extLst>
              <a:ext uri="{FF2B5EF4-FFF2-40B4-BE49-F238E27FC236}">
                <a16:creationId xmlns:a16="http://schemas.microsoft.com/office/drawing/2014/main" id="{61CB25F0-5394-4BD8-92E6-16389BDD1EA6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8601075" y="5737225"/>
            <a:ext cx="387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52911C5-1212-49B1-A1E3-A7C2E43975E7}" type="datetime'''''''''2''''''''''''''0''''19'''''''''">
              <a:rPr lang="fr-FR" altLang="en-US" smtClean="0"/>
              <a:pPr/>
              <a:t>201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5" name="Espace réservé du texte 2">
            <a:extLst>
              <a:ext uri="{FF2B5EF4-FFF2-40B4-BE49-F238E27FC236}">
                <a16:creationId xmlns:a16="http://schemas.microsoft.com/office/drawing/2014/main" id="{00714E26-EC36-4A85-960D-3EDA17D5A27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3324225" y="5737225"/>
            <a:ext cx="387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3CC890D-3512-4C25-95A3-8A465E827D13}" type="datetime'''''''''''''''''2''''0''''''''''''''1''''''''''''''7'''''">
              <a:rPr lang="fr-FR" altLang="en-US" smtClean="0"/>
              <a:pPr/>
              <a:t>2017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69" name="Espace réservé du texte 2">
            <a:extLst>
              <a:ext uri="{FF2B5EF4-FFF2-40B4-BE49-F238E27FC236}">
                <a16:creationId xmlns:a16="http://schemas.microsoft.com/office/drawing/2014/main" id="{2B45617E-18DB-4E4A-81BE-72286154FCC1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2708275" y="1808163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8FF2CB6-D245-41F5-AF90-1E6764373640}" type="datetime'''''''5,''''''''''''0'''''''''''''''''''''''">
              <a:rPr lang="fr-FR" altLang="en-US" smtClean="0"/>
              <a:pPr/>
              <a:t>5,0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85D2B09C-7410-4FEA-B6D7-C4A5A091ADA8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2525713" y="5737225"/>
            <a:ext cx="6667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8341E32-08D6-4ED4-B9F7-522A47ACCFA4}" type="datetime'''N''''''ew'''''''' ''''''''bu''''''''''''''s''ine''ss 201''7'">
              <a:rPr lang="fr-FR" altLang="en-US" smtClean="0"/>
              <a:pPr/>
              <a:t>New business 2017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2" name="Espace réservé du texte 2">
            <a:extLst>
              <a:ext uri="{FF2B5EF4-FFF2-40B4-BE49-F238E27FC236}">
                <a16:creationId xmlns:a16="http://schemas.microsoft.com/office/drawing/2014/main" id="{4DE26C2D-BCED-4E76-91EF-6BA802819216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4597400" y="5737225"/>
            <a:ext cx="4794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54A0295-C103-49FB-8034-C1A59A6616C0}" type="datetime'''C''''''''hurn'''''''''''''' 2''''0''''''''1''''8'''">
              <a:rPr lang="fr-FR" altLang="en-US" smtClean="0"/>
              <a:pPr/>
              <a:t>Churn 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68" name="Espace réservé du texte 2">
            <a:extLst>
              <a:ext uri="{FF2B5EF4-FFF2-40B4-BE49-F238E27FC236}">
                <a16:creationId xmlns:a16="http://schemas.microsoft.com/office/drawing/2014/main" id="{CED88030-701E-499A-A464-3C34C5228A3F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2014538" y="1141413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7802E34-F17D-43D3-A3B3-5884ED0FBF54}" type="datetime'-''''''''''''''''''''''4'',''''''''''''3'''''''''''''''''''''">
              <a:rPr lang="fr-FR" altLang="en-US" smtClean="0"/>
              <a:pPr/>
              <a:t>-4,3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6" name="Espace réservé du texte 2">
            <a:extLst>
              <a:ext uri="{FF2B5EF4-FFF2-40B4-BE49-F238E27FC236}">
                <a16:creationId xmlns:a16="http://schemas.microsoft.com/office/drawing/2014/main" id="{33094E6A-D62C-4FB5-AA4B-9A8F898CA1E7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1346200" y="5737225"/>
            <a:ext cx="3873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7739985-90F8-476B-9E3A-86FAFC926421}" type="datetime'''LFL'''''''''''''''''' ''''''201''''6'''">
              <a:rPr lang="fr-FR" altLang="en-US" smtClean="0"/>
              <a:pPr/>
              <a:t>LFL 2016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65" name="Espace réservé du texte 2">
            <a:extLst>
              <a:ext uri="{FF2B5EF4-FFF2-40B4-BE49-F238E27FC236}">
                <a16:creationId xmlns:a16="http://schemas.microsoft.com/office/drawing/2014/main" id="{5C34D846-5CB4-44D6-A90D-D126F6A15053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681039" y="966788"/>
            <a:ext cx="396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E772A10-5661-4F75-9EE5-A25313436022}" type="datetime'''''''''''''''4''''''''7'''''''''''''''''''''''',''8'''''">
              <a:rPr lang="fr-FR" altLang="en-US" smtClean="0"/>
              <a:pPr/>
              <a:t>47,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61" name="Espace réservé du texte 2">
            <a:extLst>
              <a:ext uri="{FF2B5EF4-FFF2-40B4-BE49-F238E27FC236}">
                <a16:creationId xmlns:a16="http://schemas.microsoft.com/office/drawing/2014/main" id="{2674AC2A-CD88-4B9C-B139-84B02CB6730A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3319463" y="1073150"/>
            <a:ext cx="396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80F9BCC-735E-471D-BF9D-EBD0C57A4C7C}" type="datetime'''''''4''''''''6'''''''''''''',''''6'''''">
              <a:rPr lang="fr-FR" altLang="en-US" smtClean="0">
                <a:latin typeface="+mn-lt"/>
                <a:sym typeface="+mn-lt"/>
              </a:rPr>
              <a:pPr/>
              <a:t>46,6</a:t>
            </a:fld>
            <a:endParaRPr lang="fr-FR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78432662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9AE5294-21FB-443B-AC9E-47D53F9097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4795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16" imgH="423" progId="TCLayout.ActiveDocument.1">
                  <p:embed/>
                </p:oleObj>
              </mc:Choice>
              <mc:Fallback>
                <p:oleObj name="think-cell Slide" r:id="rId31" imgW="416" imgH="423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9AE5294-21FB-443B-AC9E-47D53F909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41" hidden="1">
            <a:extLst>
              <a:ext uri="{FF2B5EF4-FFF2-40B4-BE49-F238E27FC236}">
                <a16:creationId xmlns:a16="http://schemas.microsoft.com/office/drawing/2014/main" id="{1CDC1D26-5559-48E5-A3EA-95A60632EA3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fr-FR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latin typeface="Trebuchet MS" panose="020B0603020202020204" pitchFamily="34" charset="0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B7E987-01B8-492B-B78E-0EA088CC8C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BNL V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CB9626-71CD-4BA3-B2F8-3277490C0D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17BD74F-C2CE-4695-825B-C98607B7AAE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711325" y="603250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A46CCEE-C924-409E-8B22-1FDA2BDF16FF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371724" y="620713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18ACEB0-AF3E-45B6-868C-167A218ABA1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030538" y="773113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484EB71-66AA-4CC7-A1CE-CE17BB88EE96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5668963" y="1014413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173AED3-29CC-4F4A-B8B0-6B86E5D40959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690938" y="620713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9A5551A-D2F8-4A30-801B-B12FF7F0961E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4349750" y="620713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AC76BFC-C0C7-43E6-8C47-5B82BE1FE8C0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5010150" y="733425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93180D1-0329-4BD7-89FB-1D3C7322242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6329363" y="630238"/>
            <a:ext cx="292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8980F331-3C94-41A2-AC79-899B178325E3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8906033"/>
              </p:ext>
            </p:extLst>
          </p:nvPr>
        </p:nvGraphicFramePr>
        <p:xfrm>
          <a:off x="1116013" y="520700"/>
          <a:ext cx="6100762" cy="4638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73" name="Espace réservé du texte 2">
            <a:extLst>
              <a:ext uri="{FF2B5EF4-FFF2-40B4-BE49-F238E27FC236}">
                <a16:creationId xmlns:a16="http://schemas.microsoft.com/office/drawing/2014/main" id="{D1D17CF5-4598-473B-9D19-1366DB79730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313113" y="5135563"/>
            <a:ext cx="3873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C5E5E15-CFF0-4499-80F4-FF8637616B9E}" type="datetime'N''''e''''w'''''''' ''''''lo''''g''''''''o ''2''018'">
              <a:rPr lang="fr-FR" altLang="en-US" smtClean="0"/>
              <a:pPr/>
              <a:t>New logo 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93" name="Espace réservé du texte 2">
            <a:extLst>
              <a:ext uri="{FF2B5EF4-FFF2-40B4-BE49-F238E27FC236}">
                <a16:creationId xmlns:a16="http://schemas.microsoft.com/office/drawing/2014/main" id="{836E356A-6061-4D7F-8517-61DE0AF9230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355975" y="590550"/>
            <a:ext cx="303213" cy="212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13B193B-6A4A-4D98-AEDB-395E2C6AA36C}" type="datetime'''''''''''''''''''''''''''''''1''''''''''''''''.''6'''">
              <a:rPr lang="fr-FR" altLang="en-US" smtClean="0">
                <a:solidFill>
                  <a:schemeClr val="bg1"/>
                </a:solidFill>
                <a:effectLst/>
              </a:rPr>
              <a:pPr/>
              <a:t>1.6</a:t>
            </a:fld>
            <a:endParaRPr lang="fr-FR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69" name="Espace réservé du texte 2">
            <a:extLst>
              <a:ext uri="{FF2B5EF4-FFF2-40B4-BE49-F238E27FC236}">
                <a16:creationId xmlns:a16="http://schemas.microsoft.com/office/drawing/2014/main" id="{0DD80383-1195-4C08-B4CC-E4F101EF5A1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993900" y="5135563"/>
            <a:ext cx="3873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A2A1177-B824-458D-9CBF-10A0673CBCB5}" type="datetime'''''''''''''''L''F''''''''''''''L'''''''' 201''''''''''7'">
              <a:rPr lang="fr-FR" altLang="en-US" smtClean="0"/>
              <a:pPr/>
              <a:t>LFL 2017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92" name="Espace réservé du texte 2">
            <a:extLst>
              <a:ext uri="{FF2B5EF4-FFF2-40B4-BE49-F238E27FC236}">
                <a16:creationId xmlns:a16="http://schemas.microsoft.com/office/drawing/2014/main" id="{1C765528-A807-44BB-B7DF-3D0E9183AE0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662238" y="590550"/>
            <a:ext cx="368300" cy="2127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51E6753-E843-4A05-A715-EA642AC0207E}" type="datetime'''-''''''''1''''''''''''''''''''''.''''''''''''6'''''''''''">
              <a:rPr lang="fr-FR" altLang="en-US" smtClean="0">
                <a:effectLst/>
              </a:rPr>
              <a:pPr/>
              <a:t>-1.6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62" name="Espace réservé du texte 2">
            <a:extLst>
              <a:ext uri="{FF2B5EF4-FFF2-40B4-BE49-F238E27FC236}">
                <a16:creationId xmlns:a16="http://schemas.microsoft.com/office/drawing/2014/main" id="{DDA89CF1-ED96-464B-A95D-B2E5C84A9B0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333500" y="5135563"/>
            <a:ext cx="387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5A59260-832D-4795-A746-01001FCDF4B4}" type="datetime'2''''''''''''''''''''''0''''1''''''''''''''''''7'''">
              <a:rPr lang="fr-FR" altLang="en-US" smtClean="0"/>
              <a:pPr/>
              <a:t>2017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91" name="Espace réservé du texte 2">
            <a:extLst>
              <a:ext uri="{FF2B5EF4-FFF2-40B4-BE49-F238E27FC236}">
                <a16:creationId xmlns:a16="http://schemas.microsoft.com/office/drawing/2014/main" id="{7B55D91B-3EC4-4FA4-AB8F-BEED8FD2F67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003425" y="504825"/>
            <a:ext cx="368300" cy="2127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3582CDE-EC71-4F8F-A483-DE7E803B9C16}" type="datetime'''''''''''''''''''-''''''''''''''0''''''''''.''''2'''''''">
              <a:rPr lang="fr-FR" altLang="en-US" smtClean="0">
                <a:solidFill>
                  <a:schemeClr val="bg1"/>
                </a:solidFill>
                <a:effectLst/>
              </a:rPr>
              <a:pPr/>
              <a:t>-0.2</a:t>
            </a:fld>
            <a:endParaRPr lang="fr-FR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84" name="Espace réservé du texte 2">
            <a:extLst>
              <a:ext uri="{FF2B5EF4-FFF2-40B4-BE49-F238E27FC236}">
                <a16:creationId xmlns:a16="http://schemas.microsoft.com/office/drawing/2014/main" id="{5668CDA6-9517-4468-8B6B-F311104237D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610350" y="5135563"/>
            <a:ext cx="387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44FD7D4-1A6A-43C6-A9B2-FF124CAD0CB7}" type="datetime'2''01''''''9'''''''''''''''''''''''''''''''''''''''''">
              <a:rPr lang="fr-FR" altLang="en-US" smtClean="0"/>
              <a:pPr/>
              <a:t>201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71" name="Espace réservé du texte 2">
            <a:extLst>
              <a:ext uri="{FF2B5EF4-FFF2-40B4-BE49-F238E27FC236}">
                <a16:creationId xmlns:a16="http://schemas.microsoft.com/office/drawing/2014/main" id="{89E90AC5-EA49-47F7-B732-9E84FCDD4BA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606675" y="5135563"/>
            <a:ext cx="4794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B40F739-5E9A-4D2A-A1BE-058EDECCD6E2}" type="datetime'''C''''''''''''''hur''''n'''''' ''2''0''1''''8'''''''''''''''">
              <a:rPr lang="fr-FR" altLang="en-US" smtClean="0"/>
              <a:pPr/>
              <a:t>Churn 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75" name="Espace réservé du texte 2">
            <a:extLst>
              <a:ext uri="{FF2B5EF4-FFF2-40B4-BE49-F238E27FC236}">
                <a16:creationId xmlns:a16="http://schemas.microsoft.com/office/drawing/2014/main" id="{7BE01F4C-A047-4D91-B3E6-1EBF50A89DB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971925" y="5135563"/>
            <a:ext cx="387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B382F1A-1A43-4330-946A-0C4948FF3C05}" type="datetime'''''''''''''''''''2''''''''''''''''0''''''''''18'''''''''">
              <a:rPr lang="fr-FR" altLang="en-US" smtClean="0"/>
              <a:pPr/>
              <a:t>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3" name="Espace réservé du texte 2">
            <a:extLst>
              <a:ext uri="{FF2B5EF4-FFF2-40B4-BE49-F238E27FC236}">
                <a16:creationId xmlns:a16="http://schemas.microsoft.com/office/drawing/2014/main" id="{D92FE710-135A-407E-8354-75DAD1788C0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641849" y="569913"/>
            <a:ext cx="368300" cy="2127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4852626-0914-4544-8D34-F2A828651BAD}" type="datetime'''''-''''''''1''''''''''''''''''''''''''''''''.''2'''''''''">
              <a:rPr lang="fr-FR" altLang="en-US" smtClean="0">
                <a:solidFill>
                  <a:schemeClr val="bg1"/>
                </a:solidFill>
                <a:effectLst/>
              </a:rPr>
              <a:pPr/>
              <a:t>-1.2</a:t>
            </a:fld>
            <a:endParaRPr lang="fr-FR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78" name="Espace réservé du texte 2">
            <a:extLst>
              <a:ext uri="{FF2B5EF4-FFF2-40B4-BE49-F238E27FC236}">
                <a16:creationId xmlns:a16="http://schemas.microsoft.com/office/drawing/2014/main" id="{8A55D17A-D6B6-4F77-B657-066C85C70D8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632325" y="5135563"/>
            <a:ext cx="3873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C187F81-743D-4A1D-98FA-ADEAC3F64E76}" type="datetime'LF''''''''''''L'''''' ''2''''''''''''01''''''''''8'''">
              <a:rPr lang="fr-FR" altLang="en-US" smtClean="0"/>
              <a:pPr/>
              <a:t>LFL 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40" name="Espace réservé du texte 2">
            <a:extLst>
              <a:ext uri="{FF2B5EF4-FFF2-40B4-BE49-F238E27FC236}">
                <a16:creationId xmlns:a16="http://schemas.microsoft.com/office/drawing/2014/main" id="{C33429EC-C9AA-4364-8C36-912642D8BA0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967163" y="382588"/>
            <a:ext cx="396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487E786-3734-45B0-8485-E2E2B2413CA9}" type="datetime'''''4''6''.''''''''''''''''''''''4'''''''''''''''''''''''''''">
              <a:rPr lang="fr-FR" altLang="en-US" smtClean="0"/>
              <a:pPr/>
              <a:t>46.4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3AFD102E-189B-4EAD-841E-B092FEBE39A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300662" y="766763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B54A74A-66EF-4E10-BB88-3E51CAD77902}" type="datetime'''''-2''''''.''''''''''''''9'''''''''''''''''''''''''''">
              <a:rPr lang="fr-FR" altLang="en-US" smtClean="0"/>
              <a:pPr/>
              <a:t>-2.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79" name="Espace réservé du texte 2">
            <a:extLst>
              <a:ext uri="{FF2B5EF4-FFF2-40B4-BE49-F238E27FC236}">
                <a16:creationId xmlns:a16="http://schemas.microsoft.com/office/drawing/2014/main" id="{B71EC7A3-507F-4E0A-89CF-50FEDFCE41D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245100" y="5135563"/>
            <a:ext cx="4794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A05245D-1DBF-44AF-A8C4-418D255BE666}" type="datetime'''''C''''''''''''''hu''''r''n'' ''''''''20''19'''''''''''''''">
              <a:rPr lang="fr-FR" altLang="en-US" smtClean="0"/>
              <a:pPr/>
              <a:t>Churn 201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5" name="Espace réservé du texte 2">
            <a:extLst>
              <a:ext uri="{FF2B5EF4-FFF2-40B4-BE49-F238E27FC236}">
                <a16:creationId xmlns:a16="http://schemas.microsoft.com/office/drawing/2014/main" id="{69C9E6B4-12B3-4E4E-B22B-50DDA3CFBDF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994400" y="715963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DAB3E2B-F93B-444F-966C-9041088B4415}" type="datetime'''''''4.''''''''''''''''''''''''0'''''''''''''''''''''''''''">
              <a:rPr lang="fr-FR" altLang="en-US" smtClean="0">
                <a:solidFill>
                  <a:schemeClr val="bg1"/>
                </a:solidFill>
              </a:rPr>
              <a:pPr/>
              <a:t>4.0</a:t>
            </a:fld>
            <a:endParaRPr lang="fr-FR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80" name="Espace réservé du texte 2">
            <a:extLst>
              <a:ext uri="{FF2B5EF4-FFF2-40B4-BE49-F238E27FC236}">
                <a16:creationId xmlns:a16="http://schemas.microsoft.com/office/drawing/2014/main" id="{8343B1C6-0310-425B-A67D-B1D614E07B9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951538" y="5135563"/>
            <a:ext cx="3873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03ED243-CE55-4422-85CF-E0AD68139EEA}" type="datetime'''''N''''e''''w l''''''''o''''''go'' 2''01''''9'''''''''''">
              <a:rPr lang="fr-FR" altLang="en-US" smtClean="0"/>
              <a:pPr/>
              <a:t>New logo 201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90" name="Espace réservé du texte 2">
            <a:extLst>
              <a:ext uri="{FF2B5EF4-FFF2-40B4-BE49-F238E27FC236}">
                <a16:creationId xmlns:a16="http://schemas.microsoft.com/office/drawing/2014/main" id="{025749F2-DAB1-4930-8CBA-BF51E2B7750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328738" y="365125"/>
            <a:ext cx="396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CD5062E-98AC-4CEB-A1A4-6B153FE4B9F4}" type="datetime'46''''''''''''''''''''''.''''''''''''6'''''''''''''">
              <a:rPr lang="fr-FR" altLang="en-US" smtClean="0"/>
              <a:pPr/>
              <a:t>46.6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4E48F018-B462-4BCF-A8E5-AC7DAC9B345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605588" y="392113"/>
            <a:ext cx="396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16731D3-C823-4E85-81E9-01408468F03F}" type="datetime'''''''''''''''''''''''''''4''6''''.''''''''''''''''''3'">
              <a:rPr lang="fr-FR" altLang="en-US" smtClean="0"/>
              <a:pPr/>
              <a:t>46.3</a:t>
            </a:fld>
            <a:endParaRPr lang="fr-FR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4565803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9AE5294-21FB-443B-AC9E-47D53F9097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5349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0" imgW="416" imgH="423" progId="TCLayout.ActiveDocument.1">
                  <p:embed/>
                </p:oleObj>
              </mc:Choice>
              <mc:Fallback>
                <p:oleObj name="think-cell Slide" r:id="rId80" imgW="416" imgH="423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9AE5294-21FB-443B-AC9E-47D53F909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41" hidden="1">
            <a:extLst>
              <a:ext uri="{FF2B5EF4-FFF2-40B4-BE49-F238E27FC236}">
                <a16:creationId xmlns:a16="http://schemas.microsoft.com/office/drawing/2014/main" id="{1CDC1D26-5559-48E5-A3EA-95A60632EA3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fr-FR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latin typeface="Trebuchet MS" panose="020B0603020202020204" pitchFamily="34" charset="0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B7E987-01B8-492B-B78E-0EA088CC8C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780" y="147600"/>
            <a:ext cx="9537820" cy="257213"/>
          </a:xfrm>
        </p:spPr>
        <p:txBody>
          <a:bodyPr/>
          <a:lstStyle/>
          <a:p>
            <a:r>
              <a:rPr lang="fr-FR" dirty="0" err="1"/>
              <a:t>Manageo</a:t>
            </a:r>
            <a:r>
              <a:rPr lang="fr-FR" dirty="0"/>
              <a:t> V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CB9626-71CD-4BA3-B2F8-3277490C0D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9A5551A-D2F8-4A30-801B-B12FF7F0961E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849438" y="1011238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E59DCFEA-4E2E-491D-9868-5C933B455EBD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837238" y="955675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31376330-621D-40CF-94C1-B1F2B1C4932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013700" y="728663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18ACEB0-AF3E-45B6-868C-167A218ABA13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123950" y="2047875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DF9242C3-2843-4BC5-B805-4507577E0D5E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300413" y="1277938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C2110883-07E5-439F-A3D5-513B38127C60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5475288" y="933450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484EB71-66AA-4CC7-A1CE-CE17BB88EE96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2574925" y="992188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A46CCEE-C924-409E-8B22-1FDA2BDF16FF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761999" y="1123950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173AED3-29CC-4F4A-B8B0-6B86E5D40959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487488" y="1250950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39C484F1-E43F-4E4D-9C97-2CBD104967A0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3662363" y="660400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1320587B-3478-4926-B292-81F9C801534D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4024312" y="765175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AC76BFC-C0C7-43E6-8C47-5B82BE1FE8C0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2211387" y="1222375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17BD74F-C2CE-4695-825B-C98607B7AAEC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398463" y="1028700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93180D1-0329-4BD7-89FB-1D3C7322242E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2936874" y="930275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32B8B41D-A8D0-4201-A6F4-499628D6A7B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4387850" y="765175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35E69E33-F7BC-48B5-BFB9-1AA613BFCD88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4749800" y="862013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26852F15-9342-407C-BD01-CF98C33A24DE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5111750" y="1622425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16DE21E7-E83D-45B3-9B1F-54123640BF36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6200775" y="1169988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2344ACFE-95B4-4CD8-B2B5-8BBBA91C076B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6562725" y="831850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3A3A4060-0305-4CD6-AE05-5D2CAB5C8575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6924675" y="657225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0AB89549-9BD4-4134-A654-B783ADA3429A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7288213" y="1300163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E13F32FE-B587-4149-B54B-694CF29F946A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7650163" y="603250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82" name="Chart 81">
            <a:extLst>
              <a:ext uri="{FF2B5EF4-FFF2-40B4-BE49-F238E27FC236}">
                <a16:creationId xmlns:a16="http://schemas.microsoft.com/office/drawing/2014/main" id="{137FCE1F-BF06-4790-9ACC-7AB2FD7C43B5}"/>
              </a:ext>
            </a:extLst>
          </p:cNvPr>
          <p:cNvGraphicFramePr/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989632645"/>
              </p:ext>
            </p:extLst>
          </p:nvPr>
        </p:nvGraphicFramePr>
        <p:xfrm>
          <a:off x="34925" y="520700"/>
          <a:ext cx="8504238" cy="4638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2"/>
          </a:graphicData>
        </a:graphic>
      </p:graphicFrame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51FB5474-05FB-42EF-ACAD-7D73EE9E9069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6823075" y="631825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54A49962-207E-4BBB-B1EB-6A78333C351D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2835275" y="904875"/>
            <a:ext cx="0" cy="5556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298AAB4-D8D2-4B0A-8046-CD07D3928028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 flipV="1">
            <a:off x="3922713" y="712788"/>
            <a:ext cx="0" cy="7778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BC59FA9-33D7-4905-962C-3F257303654E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V="1">
            <a:off x="660400" y="1076325"/>
            <a:ext cx="0" cy="7302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C896D48-51EC-4442-A4E1-DCC1F34BA54C}"/>
              </a:ext>
            </a:extLst>
          </p:cNvPr>
          <p:cNvCxnSpPr>
            <a:cxnSpLocks/>
          </p:cNvCxnSpPr>
          <p:nvPr>
            <p:custDataLst>
              <p:tags r:id="rId30"/>
            </p:custDataLst>
          </p:nvPr>
        </p:nvCxnSpPr>
        <p:spPr bwMode="auto">
          <a:xfrm flipV="1">
            <a:off x="7912100" y="666751"/>
            <a:ext cx="0" cy="8731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A33EB4E-C1D5-41D3-A3FA-DD281150C253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 flipV="1">
            <a:off x="4648200" y="814388"/>
            <a:ext cx="0" cy="7302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757039C-D34B-4E35-9552-004F0B46FDF3}"/>
              </a:ext>
            </a:extLst>
          </p:cNvPr>
          <p:cNvCxnSpPr>
            <a:cxnSpLocks/>
          </p:cNvCxnSpPr>
          <p:nvPr>
            <p:custDataLst>
              <p:tags r:id="rId32"/>
            </p:custDataLst>
          </p:nvPr>
        </p:nvCxnSpPr>
        <p:spPr bwMode="auto">
          <a:xfrm flipV="1">
            <a:off x="5735638" y="944563"/>
            <a:ext cx="0" cy="3651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8" name="Espace réservé du texte 2">
            <a:extLst>
              <a:ext uri="{FF2B5EF4-FFF2-40B4-BE49-F238E27FC236}">
                <a16:creationId xmlns:a16="http://schemas.microsoft.com/office/drawing/2014/main" id="{61A701AA-0443-4D76-8F67-EFD99F9C9D13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915025" y="955675"/>
            <a:ext cx="368300" cy="2127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67195AF-9B21-44B2-9BD3-39724028C132}" type="datetime'''''''-''''''''''''0,''''''''''''''''''''''''''''''5'''''">
              <a:rPr lang="fr-FR" altLang="en-US" smtClean="0">
                <a:solidFill>
                  <a:schemeClr val="bg1"/>
                </a:solidFill>
                <a:effectLst/>
              </a:rPr>
              <a:pPr/>
              <a:t>-0,5</a:t>
            </a:fld>
            <a:endParaRPr lang="fr-FR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97" name="Espace réservé du texte 2">
            <a:extLst>
              <a:ext uri="{FF2B5EF4-FFF2-40B4-BE49-F238E27FC236}">
                <a16:creationId xmlns:a16="http://schemas.microsoft.com/office/drawing/2014/main" id="{9D8DA086-522B-4030-9CA5-1D73B28200E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727950" y="754063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A9DED72-D1F3-43C4-BD9A-227C578EB871}" type="datetime'''-''''''''0,3'''''''''''''''''''''">
              <a:rPr lang="fr-FR" altLang="en-US" smtClean="0"/>
              <a:pPr/>
              <a:t>-0,3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52" name="Espace réservé du texte 2">
            <a:extLst>
              <a:ext uri="{FF2B5EF4-FFF2-40B4-BE49-F238E27FC236}">
                <a16:creationId xmlns:a16="http://schemas.microsoft.com/office/drawing/2014/main" id="{8D58C6F9-7147-491D-B22F-AFD5D1FA266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442200" y="5135563"/>
            <a:ext cx="212725" cy="244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D5462D25-D7F9-4E3A-9CB2-66197C732A5D}" type="datetime'New'''' ''''bu''s''''''in''e''ss'''' 20''19 M''''''ARKETING'''">
              <a:rPr lang="fr-FR" altLang="en-US" smtClean="0"/>
              <a:pPr marL="0" indent="0" algn="r">
                <a:spcBef>
                  <a:spcPct val="0"/>
                </a:spcBef>
                <a:buNone/>
              </a:pPr>
              <a:t>New business 2019 MARKETING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70" name="Espace réservé du texte 2">
            <a:extLst>
              <a:ext uri="{FF2B5EF4-FFF2-40B4-BE49-F238E27FC236}">
                <a16:creationId xmlns:a16="http://schemas.microsoft.com/office/drawing/2014/main" id="{DDA7F275-3E91-4672-B746-98CB2DB73E68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3014663" y="996950"/>
            <a:ext cx="368300" cy="212725"/>
          </a:xfrm>
          <a:prstGeom prst="rect">
            <a:avLst/>
          </a:prstGeom>
          <a:solidFill>
            <a:srgbClr val="D6D7D9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72C33FF-BD77-473A-90A5-884C4BE26506}" type="datetime'-''''''''''''''''''''''0'''',''''''''8'">
              <a:rPr lang="fr-FR" altLang="en-US" smtClean="0">
                <a:effectLst/>
                <a:latin typeface="+mn-lt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-0,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84" name="Espace réservé du texte 2">
            <a:extLst>
              <a:ext uri="{FF2B5EF4-FFF2-40B4-BE49-F238E27FC236}">
                <a16:creationId xmlns:a16="http://schemas.microsoft.com/office/drawing/2014/main" id="{5668CDA6-9517-4468-8B6B-F311104237DC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092450" y="5135563"/>
            <a:ext cx="212725" cy="186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95EF0B0-1F93-49A9-A36A-F8A6692ABC69}" type="datetime'''C''''''''''''''''h''u''r''n ''''2018'' MA''''''RK''ETING'''">
              <a:rPr lang="fr-FR" altLang="en-US" smtClean="0"/>
              <a:pPr marL="0" indent="0" algn="r">
                <a:spcBef>
                  <a:spcPct val="0"/>
                </a:spcBef>
                <a:buNone/>
              </a:pPr>
              <a:t>Churn 2018 MARKETING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6" name="Espace réservé du texte 2">
            <a:extLst>
              <a:ext uri="{FF2B5EF4-FFF2-40B4-BE49-F238E27FC236}">
                <a16:creationId xmlns:a16="http://schemas.microsoft.com/office/drawing/2014/main" id="{C819B29B-5BD2-472C-8BC7-6935824FC920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454401" y="5135563"/>
            <a:ext cx="212725" cy="244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42458C5-D166-497F-928D-0D33E31AA015}" type="datetime'''''''''New bu''sin''ess ''2018'' MA''''''''''RKETIN''''''G'">
              <a:rPr lang="fr-FR" altLang="en-US" smtClean="0"/>
              <a:pPr marL="0" indent="0" algn="r">
                <a:spcBef>
                  <a:spcPct val="0"/>
                </a:spcBef>
                <a:buNone/>
              </a:pPr>
              <a:t>New business 2018 MARKETING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74" name="Espace réservé du texte 2">
            <a:extLst>
              <a:ext uri="{FF2B5EF4-FFF2-40B4-BE49-F238E27FC236}">
                <a16:creationId xmlns:a16="http://schemas.microsoft.com/office/drawing/2014/main" id="{3CD5DB7B-0394-4BB0-829E-3BF0C288B5A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738563" y="790575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34F74B4-C0B8-418F-B0B1-69F85F1E063E}" type="datetime'''''''''''-''''''''''''0'''''''''',''''''''''2'''">
              <a:rPr lang="fr-FR" altLang="en-US" smtClean="0"/>
              <a:pPr/>
              <a:t>-0,2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47" name="Espace réservé du texte 2">
            <a:extLst>
              <a:ext uri="{FF2B5EF4-FFF2-40B4-BE49-F238E27FC236}">
                <a16:creationId xmlns:a16="http://schemas.microsoft.com/office/drawing/2014/main" id="{1B615CD3-BD7C-461C-856B-CDF30EE8755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629275" y="5135563"/>
            <a:ext cx="212725" cy="217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A380430-6A10-41AA-B8E1-7B532D7EACA6}" type="datetime'''''L''''FL20''''1''''8 PROGRAM''''MA''TI''''''Q''UE'''''">
              <a:rPr lang="fr-FR" altLang="en-US" smtClean="0"/>
              <a:pPr marL="0" indent="0" algn="r">
                <a:spcBef>
                  <a:spcPct val="0"/>
                </a:spcBef>
                <a:buNone/>
              </a:pPr>
              <a:t>LFL2018 PROGRAMMATIQUE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95" name="Espace réservé du texte 2">
            <a:extLst>
              <a:ext uri="{FF2B5EF4-FFF2-40B4-BE49-F238E27FC236}">
                <a16:creationId xmlns:a16="http://schemas.microsoft.com/office/drawing/2014/main" id="{F2F488DD-FFAB-4421-A858-131A9C00D9DA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7002463" y="871538"/>
            <a:ext cx="368300" cy="212725"/>
          </a:xfrm>
          <a:prstGeom prst="rect">
            <a:avLst/>
          </a:prstGeom>
          <a:solidFill>
            <a:srgbClr val="D6D7D9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B8F4340-C9AF-44C0-8FA5-8B2CB1D088D2}" type="datetime'''''''''''''''''''-''''''''''1'''''''''''''''''',''4'''''''">
              <a:rPr lang="fr-FR" altLang="en-US" smtClean="0">
                <a:effectLst/>
                <a:latin typeface="+mn-lt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-1,4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41" name="Espace réservé du texte 2">
            <a:extLst>
              <a:ext uri="{FF2B5EF4-FFF2-40B4-BE49-F238E27FC236}">
                <a16:creationId xmlns:a16="http://schemas.microsoft.com/office/drawing/2014/main" id="{440C7EC8-B70D-4262-AD6E-8F191E94F44A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4179888" y="5135562"/>
            <a:ext cx="212725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84C9D2AA-5708-4563-BF54-C58F3A0F2081}" type="datetime'''''''20''''''''''''''''''''1''''''''''8'''''''''''''''''''">
              <a:rPr lang="fr-FR" altLang="en-US" smtClean="0"/>
              <a:pPr marL="0" indent="0" algn="r">
                <a:spcBef>
                  <a:spcPct val="0"/>
                </a:spcBef>
                <a:buNone/>
              </a:pPr>
              <a:t>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64" name="Espace réservé du texte 2">
            <a:extLst>
              <a:ext uri="{FF2B5EF4-FFF2-40B4-BE49-F238E27FC236}">
                <a16:creationId xmlns:a16="http://schemas.microsoft.com/office/drawing/2014/main" id="{8EF47CEE-CEB6-4087-B038-3BA7834EDD4D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235075" y="1543050"/>
            <a:ext cx="303213" cy="2127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22CFB4A-D391-4CA6-B973-7F2D58A06FF8}" type="datetime'''''''''1'''',''7'">
              <a:rPr lang="fr-FR" altLang="en-US" smtClean="0">
                <a:effectLst/>
              </a:rPr>
              <a:pPr/>
              <a:t>1,7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79" name="Espace réservé du texte 2">
            <a:extLst>
              <a:ext uri="{FF2B5EF4-FFF2-40B4-BE49-F238E27FC236}">
                <a16:creationId xmlns:a16="http://schemas.microsoft.com/office/drawing/2014/main" id="{B71EC7A3-507F-4E0A-89CF-50FEDFCE41DF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2366963" y="5135562"/>
            <a:ext cx="212725" cy="300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FDF611F8-8A41-43F5-ABC2-6A534777ED1A}" type="datetime'N''ew'''''''' b''u''siness 2''''018 P''''RO''GRAMMATIQUE'''">
              <a:rPr lang="fr-FR" altLang="en-US" smtClean="0"/>
              <a:pPr marL="0" indent="0" algn="r">
                <a:spcBef>
                  <a:spcPct val="0"/>
                </a:spcBef>
                <a:buNone/>
              </a:pPr>
              <a:t>New business 2018 PROGRAMMATIQUE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62" name="Espace réservé du texte 2">
            <a:extLst>
              <a:ext uri="{FF2B5EF4-FFF2-40B4-BE49-F238E27FC236}">
                <a16:creationId xmlns:a16="http://schemas.microsoft.com/office/drawing/2014/main" id="{DDA89CF1-ED96-464B-A95D-B2E5C84A9B05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90501" y="5135562"/>
            <a:ext cx="212725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5C2D8F6-9CD0-47CE-9373-1AF6BDB333A8}" type="datetime'''''''''''''2''''''''0''''''17'''''''''">
              <a:rPr lang="fr-FR" altLang="en-US" smtClean="0">
                <a:effectLst/>
                <a:latin typeface="+mn-lt"/>
                <a:sym typeface="+mn-lt"/>
              </a:rPr>
              <a:pPr marL="0" indent="0" algn="r">
                <a:spcBef>
                  <a:spcPct val="0"/>
                </a:spcBef>
                <a:buNone/>
              </a:pPr>
              <a:t>2017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83" name="Espace réservé du texte 2">
            <a:extLst>
              <a:ext uri="{FF2B5EF4-FFF2-40B4-BE49-F238E27FC236}">
                <a16:creationId xmlns:a16="http://schemas.microsoft.com/office/drawing/2014/main" id="{155C8652-A4AF-47ED-AD4A-C560F4646572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464050" y="887413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1C322BB-262A-40E1-895A-BB8B76AD80FE}" type="datetime'''''''''-''0'''',''''''''''''''''''''''''2'">
              <a:rPr lang="fr-FR" altLang="en-US" smtClean="0">
                <a:effectLst/>
                <a:latin typeface="+mn-lt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-0,2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87" name="Espace réservé du texte 2">
            <a:extLst>
              <a:ext uri="{FF2B5EF4-FFF2-40B4-BE49-F238E27FC236}">
                <a16:creationId xmlns:a16="http://schemas.microsoft.com/office/drawing/2014/main" id="{61B7E99B-048A-4E53-AD9D-AE7E3FEF0D3D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5584825" y="981075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5F99431-74D5-4AEC-8428-D0D105475233}" type="datetime'''''''''''0,''''''0'''''''''''''''''''''''''''''''''''''''">
              <a:rPr lang="fr-FR" altLang="en-US" smtClean="0"/>
              <a:pPr/>
              <a:t>0,0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DB090A12-4885-4630-9798-0F510F805F63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541838" y="5135563"/>
            <a:ext cx="212725" cy="938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64E95837-C1A3-41A4-94FA-4C22A128FD16}" type="datetime'''''''''L''''''''''F''''''''''''''L2''''''018 M''D'">
              <a:rPr lang="fr-FR" altLang="en-US" smtClean="0"/>
              <a:pPr marL="0" indent="0" algn="r">
                <a:spcBef>
                  <a:spcPct val="0"/>
                </a:spcBef>
                <a:buNone/>
              </a:pPr>
              <a:t>LFL2018 MD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85" name="Espace réservé du texte 2">
            <a:extLst>
              <a:ext uri="{FF2B5EF4-FFF2-40B4-BE49-F238E27FC236}">
                <a16:creationId xmlns:a16="http://schemas.microsoft.com/office/drawing/2014/main" id="{EFC96EA3-CEDC-47BB-AFD9-6692C7994F1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826000" y="1135063"/>
            <a:ext cx="368300" cy="2127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452BB9F-78CD-4CF3-A66A-08531FEC1AEE}" type="datetime'-''''1'''''''''''''''''''''''''''',''''7'''''''''''''''">
              <a:rPr lang="fr-FR" altLang="en-US" smtClean="0"/>
              <a:pPr/>
              <a:t>-1,7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7D7444CA-27C7-485C-81DB-FA02C616A8F9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903788" y="5135563"/>
            <a:ext cx="212725" cy="1184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F4738DD-8E13-4A72-8D56-197560D430C4}" type="datetime'''''''C''hu''''rn ''2''''''''''''0''''''1''9 ''''''''''''''MD'">
              <a:rPr lang="fr-FR" altLang="en-US" smtClean="0"/>
              <a:pPr marL="0" indent="0" algn="r">
                <a:spcBef>
                  <a:spcPct val="0"/>
                </a:spcBef>
                <a:buNone/>
              </a:pPr>
              <a:t>Churn 2019 MD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63" name="Espace réservé du texte 2">
            <a:extLst>
              <a:ext uri="{FF2B5EF4-FFF2-40B4-BE49-F238E27FC236}">
                <a16:creationId xmlns:a16="http://schemas.microsoft.com/office/drawing/2014/main" id="{96547454-1D04-4F76-85D3-8AA4EB372CF9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838200" y="1479550"/>
            <a:ext cx="368300" cy="2127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0F4CDBF-9404-4BEA-9B0C-6D3720F0FCC5}" type="datetime'''''-''''''''2'''',''''''''''''''''''''''''0'''''''''''''">
              <a:rPr lang="fr-FR" altLang="en-US" smtClean="0"/>
              <a:pPr/>
              <a:t>-2,0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96" name="Espace réservé du texte 2">
            <a:extLst>
              <a:ext uri="{FF2B5EF4-FFF2-40B4-BE49-F238E27FC236}">
                <a16:creationId xmlns:a16="http://schemas.microsoft.com/office/drawing/2014/main" id="{AFFF5B02-4C3E-4C0F-81E2-5980A01EFDBE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7397750" y="844550"/>
            <a:ext cx="303213" cy="212725"/>
          </a:xfrm>
          <a:prstGeom prst="rect">
            <a:avLst/>
          </a:prstGeom>
          <a:solidFill>
            <a:srgbClr val="D6D7D9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0E92947-EFBC-461C-B0D5-222155FF0FA8}" type="datetime'''''''''''1'',''''''''''5'''''''''''''''''''''">
              <a:rPr lang="fr-FR" altLang="en-US" smtClean="0">
                <a:effectLst/>
                <a:latin typeface="+mn-lt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1,5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86" name="Espace réservé du texte 2">
            <a:extLst>
              <a:ext uri="{FF2B5EF4-FFF2-40B4-BE49-F238E27FC236}">
                <a16:creationId xmlns:a16="http://schemas.microsoft.com/office/drawing/2014/main" id="{14F09620-61FF-4685-B42A-E1A89ABBC3F0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5222875" y="1171575"/>
            <a:ext cx="303213" cy="2127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6F34AE5-83E4-4F99-A449-EBA540931E85}" type="datetime'''''''''''''''''''''''''1'',''''''5'''''''''''''''''''''''''''">
              <a:rPr lang="fr-FR" altLang="en-US" smtClean="0"/>
              <a:pPr/>
              <a:t>1,5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61" name="Espace réservé du texte 2">
            <a:extLst>
              <a:ext uri="{FF2B5EF4-FFF2-40B4-BE49-F238E27FC236}">
                <a16:creationId xmlns:a16="http://schemas.microsoft.com/office/drawing/2014/main" id="{6D78BA14-76CF-4AA2-B9B1-12E00EE02C40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476250" y="1149350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9CE8696-F335-4638-989C-A52191948C95}" type="datetime'''-''''''''''''''''''''0'''''''''''',2'''''''''''''''''''''''">
              <a:rPr lang="fr-FR" altLang="en-US" smtClean="0">
                <a:effectLst/>
                <a:latin typeface="+mn-lt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-0,2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37C4A892-C96D-4089-A864-8F09519D4CE9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5267325" y="5135563"/>
            <a:ext cx="212725" cy="176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3E8FD43-C346-4303-8A45-ABFB090BA7B5}" type="datetime'''''Ne''w ''''b''u''''si''nes''s'' ''''2''''''019'''' MD'''">
              <a:rPr lang="fr-FR" altLang="en-US" smtClean="0"/>
              <a:pPr marL="0" indent="0" algn="r">
                <a:spcBef>
                  <a:spcPct val="0"/>
                </a:spcBef>
                <a:buNone/>
              </a:pPr>
              <a:t>New business 2019 MD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49" name="Espace réservé du texte 2">
            <a:extLst>
              <a:ext uri="{FF2B5EF4-FFF2-40B4-BE49-F238E27FC236}">
                <a16:creationId xmlns:a16="http://schemas.microsoft.com/office/drawing/2014/main" id="{173F7979-4963-4DE4-A943-A7FE77DA18DC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6354763" y="5135562"/>
            <a:ext cx="212725" cy="300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59A5EB3-6249-4026-842E-FC675831458A}" type="datetime'''New ''''bus''ines''''s'' ''2019 ''P''R''OGRA''MMATIQU''''E'">
              <a:rPr lang="fr-FR" altLang="en-US" smtClean="0"/>
              <a:pPr marL="0" indent="0" algn="r">
                <a:spcBef>
                  <a:spcPct val="0"/>
                </a:spcBef>
                <a:buNone/>
              </a:pPr>
              <a:t>New business 2019 PROGRAMMATIQUE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94" name="Espace réservé du texte 2">
            <a:extLst>
              <a:ext uri="{FF2B5EF4-FFF2-40B4-BE49-F238E27FC236}">
                <a16:creationId xmlns:a16="http://schemas.microsoft.com/office/drawing/2014/main" id="{2BB7C84E-84D1-40B0-B2ED-997FC7B15167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6672263" y="419100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740F916-BF98-40B7-B032-F37F9623335B}" type="datetime'''''''0'''',''''''''''''''''''''''''4'''''''''''''''''">
              <a:rPr lang="fr-FR" altLang="en-US" smtClean="0">
                <a:effectLst/>
              </a:rPr>
              <a:pPr/>
              <a:t>0,4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72" name="Espace réservé du texte 2">
            <a:extLst>
              <a:ext uri="{FF2B5EF4-FFF2-40B4-BE49-F238E27FC236}">
                <a16:creationId xmlns:a16="http://schemas.microsoft.com/office/drawing/2014/main" id="{5BC2416C-1277-436F-BF4E-FC0F8DA4C2C2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3409950" y="862013"/>
            <a:ext cx="303213" cy="212725"/>
          </a:xfrm>
          <a:prstGeom prst="rect">
            <a:avLst/>
          </a:prstGeom>
          <a:solidFill>
            <a:srgbClr val="D6D7D9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CE625D9-FD0F-4502-843D-621FCA65D72A}" type="datetime'''''''''''''''''''''''1'''''''''''''''''',''''''3'''">
              <a:rPr lang="fr-FR" altLang="en-US" smtClean="0">
                <a:effectLst/>
              </a:rPr>
              <a:pPr/>
              <a:t>1,3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50" name="Espace réservé du texte 2">
            <a:extLst>
              <a:ext uri="{FF2B5EF4-FFF2-40B4-BE49-F238E27FC236}">
                <a16:creationId xmlns:a16="http://schemas.microsoft.com/office/drawing/2014/main" id="{D72427FF-C6FE-479E-BEE3-0058257BC7AA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6716713" y="5135563"/>
            <a:ext cx="212725" cy="161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A09AED9C-D9E7-4332-846F-A6916D6C8851}" type="datetime'LFL''''''20''''''''1''8'''''''''' M''A''''R''KE''T''IN''G'''''">
              <a:rPr lang="fr-FR" altLang="en-US" smtClean="0"/>
              <a:pPr marL="0" indent="0" algn="r">
                <a:spcBef>
                  <a:spcPct val="0"/>
                </a:spcBef>
                <a:buNone/>
              </a:pPr>
              <a:t>LFL2018 MARKETING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69" name="Espace réservé du texte 2">
            <a:extLst>
              <a:ext uri="{FF2B5EF4-FFF2-40B4-BE49-F238E27FC236}">
                <a16:creationId xmlns:a16="http://schemas.microsoft.com/office/drawing/2014/main" id="{0DD80383-1195-4C08-B4CC-E4F101EF5A17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554039" y="5135563"/>
            <a:ext cx="212725" cy="938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46DD6FF1-DC0D-4CEC-AF0F-6733119077F8}" type="datetime'''''L''''''''F''L2''''''''''0''''''''''1''7'' M''''D'''''''''">
              <a:rPr lang="fr-FR" altLang="en-US" smtClean="0"/>
              <a:pPr marL="0" indent="0" algn="r">
                <a:spcBef>
                  <a:spcPct val="0"/>
                </a:spcBef>
                <a:buNone/>
              </a:pPr>
              <a:t>LFL2017 MD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51" name="Espace réservé du texte 2">
            <a:extLst>
              <a:ext uri="{FF2B5EF4-FFF2-40B4-BE49-F238E27FC236}">
                <a16:creationId xmlns:a16="http://schemas.microsoft.com/office/drawing/2014/main" id="{8438C64D-C6D2-4FFC-8822-367F455ABD5D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7080250" y="5135563"/>
            <a:ext cx="212725" cy="186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64E2F88-B078-4E5A-9C5F-BDA5359AF839}" type="datetime'''Ch''''ur''''''n'''''''' 2''''''''019 ''M''''A''''RKE''TING'">
              <a:rPr lang="fr-FR" altLang="en-US" smtClean="0"/>
              <a:pPr marL="0" indent="0" algn="r">
                <a:spcBef>
                  <a:spcPct val="0"/>
                </a:spcBef>
                <a:buNone/>
              </a:pPr>
              <a:t>Churn 2019 MARKETING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53" name="Espace réservé du texte 2">
            <a:extLst>
              <a:ext uri="{FF2B5EF4-FFF2-40B4-BE49-F238E27FC236}">
                <a16:creationId xmlns:a16="http://schemas.microsoft.com/office/drawing/2014/main" id="{495EC0D1-2C95-4ECC-8818-CB2B6BBB692C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7805738" y="5135563"/>
            <a:ext cx="212725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F417671-4228-4815-AC6B-7EEF06F2BF3B}" type="datetime'''''''''Au''tr''''''''''''''''''''''''''''''''e'''''''''">
              <a:rPr lang="fr-FR" altLang="en-US" smtClean="0"/>
              <a:pPr/>
              <a:t>Autre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56" name="Espace réservé du texte 2">
            <a:extLst>
              <a:ext uri="{FF2B5EF4-FFF2-40B4-BE49-F238E27FC236}">
                <a16:creationId xmlns:a16="http://schemas.microsoft.com/office/drawing/2014/main" id="{38E7A75D-A70B-4A5D-93D6-596AE5D92F11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8080375" y="5135563"/>
            <a:ext cx="387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44B84B8-2B59-4E01-9B36-A882709D82BE}" type="datetime'2''''''''''''''0''''''''''''''''''''''''''''1''''''''''9'''''">
              <a:rPr lang="fr-FR" altLang="en-US" smtClean="0"/>
              <a:pPr/>
              <a:t>201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89" name="Espace réservé du texte 2">
            <a:extLst>
              <a:ext uri="{FF2B5EF4-FFF2-40B4-BE49-F238E27FC236}">
                <a16:creationId xmlns:a16="http://schemas.microsoft.com/office/drawing/2014/main" id="{75BF1C62-6B77-450F-BE62-01A6DA6275D4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6310313" y="893763"/>
            <a:ext cx="303213" cy="2127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BE6A319-9DDA-4D7D-864D-2B0BB58C565A}" type="datetime'''''''''''''''''''''''''''''''''''''0'''''''''''''',''7'''''">
              <a:rPr lang="fr-FR" altLang="en-US" smtClean="0">
                <a:solidFill>
                  <a:schemeClr val="bg1"/>
                </a:solidFill>
              </a:rPr>
              <a:pPr/>
              <a:t>0,7</a:t>
            </a:fld>
            <a:endParaRPr lang="fr-FR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71" name="Espace réservé du texte 2">
            <a:extLst>
              <a:ext uri="{FF2B5EF4-FFF2-40B4-BE49-F238E27FC236}">
                <a16:creationId xmlns:a16="http://schemas.microsoft.com/office/drawing/2014/main" id="{89E90AC5-EA49-47F7-B732-9E84FCDD4BA2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915988" y="5135563"/>
            <a:ext cx="212725" cy="1184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0F5DEBA3-0076-4C8F-8B43-CEDE85D98672}" type="datetime'''C''''''''''h''u''''''r''n'' 2''''0''''1''''''''8'' ''''''MD'">
              <a:rPr lang="fr-FR" altLang="en-US" smtClean="0"/>
              <a:pPr marL="0" indent="0" algn="r">
                <a:spcBef>
                  <a:spcPct val="0"/>
                </a:spcBef>
                <a:buNone/>
              </a:pPr>
              <a:t>Churn 2018 MD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73" name="Espace réservé du texte 2">
            <a:extLst>
              <a:ext uri="{FF2B5EF4-FFF2-40B4-BE49-F238E27FC236}">
                <a16:creationId xmlns:a16="http://schemas.microsoft.com/office/drawing/2014/main" id="{D1D17CF5-4598-473B-9D19-1366DB797309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1279525" y="5135563"/>
            <a:ext cx="212725" cy="176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8977A448-ACDA-4315-8CBF-88B0305FE4B1}" type="datetime'''N''''''ew b''us''i''nes''''s 201''''8'' ''''''''''MD'''''">
              <a:rPr lang="fr-FR" altLang="en-US" smtClean="0"/>
              <a:pPr marL="0" indent="0" algn="r">
                <a:spcBef>
                  <a:spcPct val="0"/>
                </a:spcBef>
                <a:buNone/>
              </a:pPr>
              <a:t>New business 2018 MD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65" name="Espace réservé du texte 2">
            <a:extLst>
              <a:ext uri="{FF2B5EF4-FFF2-40B4-BE49-F238E27FC236}">
                <a16:creationId xmlns:a16="http://schemas.microsoft.com/office/drawing/2014/main" id="{298C5767-35C8-4A49-BA46-1E02CE8A0598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1597025" y="1023938"/>
            <a:ext cx="303213" cy="2127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D428F83-2646-4797-B1DE-F0FAEB5EE84B}" type="datetime'''''''''''''0'',''''''''5'''''''''''''''''''''''''''''''''''''">
              <a:rPr lang="fr-FR" altLang="en-US" smtClean="0">
                <a:solidFill>
                  <a:schemeClr val="bg1"/>
                </a:solidFill>
              </a:rPr>
              <a:pPr/>
              <a:t>0,5</a:t>
            </a:fld>
            <a:endParaRPr lang="fr-FR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75" name="Espace réservé du texte 2">
            <a:extLst>
              <a:ext uri="{FF2B5EF4-FFF2-40B4-BE49-F238E27FC236}">
                <a16:creationId xmlns:a16="http://schemas.microsoft.com/office/drawing/2014/main" id="{7BE01F4C-A047-4D91-B3E6-1EBF50A89DB2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1641475" y="5135563"/>
            <a:ext cx="212725" cy="217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884D6AD-4451-45F5-8BCD-065BF758B83B}" type="datetime'LF''L20''''1''''7'' ''PR''''''O''''G''''''RA''''M''MATIQU''E'">
              <a:rPr lang="fr-FR" altLang="en-US" smtClean="0"/>
              <a:pPr marL="0" indent="0" algn="r">
                <a:spcBef>
                  <a:spcPct val="0"/>
                </a:spcBef>
                <a:buNone/>
              </a:pPr>
              <a:t>LFL2017 PROGRAMMATIQUE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8" name="Espace réservé du texte 2">
            <a:extLst>
              <a:ext uri="{FF2B5EF4-FFF2-40B4-BE49-F238E27FC236}">
                <a16:creationId xmlns:a16="http://schemas.microsoft.com/office/drawing/2014/main" id="{A6117674-F5C7-4E96-8E94-2214BAE7CE96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3816351" y="5135563"/>
            <a:ext cx="212725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5A3B919-839F-40E1-B6EA-475C128A3B6E}" type="datetime'''A''''''''''''''u''''''''''tr''''''''''''''''''e'''''''''">
              <a:rPr lang="fr-FR" altLang="en-US" smtClean="0"/>
              <a:pPr/>
              <a:t>Autre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66" name="Espace réservé du texte 2">
            <a:extLst>
              <a:ext uri="{FF2B5EF4-FFF2-40B4-BE49-F238E27FC236}">
                <a16:creationId xmlns:a16="http://schemas.microsoft.com/office/drawing/2014/main" id="{12E119BA-F1A2-481A-9A53-C6D19CE106B3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1925638" y="1009650"/>
            <a:ext cx="368300" cy="2127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140F045-B1A2-4D81-8C93-B49AE5036D0B}" type="datetime'''''''''-''''''''''''''''''''''''0'''''''''',''''''''''5'''''">
              <a:rPr lang="fr-FR" altLang="en-US" smtClean="0">
                <a:solidFill>
                  <a:schemeClr val="bg1"/>
                </a:solidFill>
                <a:effectLst/>
              </a:rPr>
              <a:pPr/>
              <a:t>-0,5</a:t>
            </a:fld>
            <a:endParaRPr lang="fr-FR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78" name="Espace réservé du texte 2">
            <a:extLst>
              <a:ext uri="{FF2B5EF4-FFF2-40B4-BE49-F238E27FC236}">
                <a16:creationId xmlns:a16="http://schemas.microsoft.com/office/drawing/2014/main" id="{8A55D17A-D6B6-4F77-B657-066C85C70D8B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2003425" y="5135563"/>
            <a:ext cx="212725" cy="2420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7E94C62C-6258-4262-91D3-F8FEA54EFE18}" type="datetime'''''C''''h''urn 201''8'' P''R''OGR''''AMM''''ATIQU''''''E'">
              <a:rPr lang="fr-FR" altLang="en-US" smtClean="0"/>
              <a:pPr marL="0" indent="0" algn="r">
                <a:spcBef>
                  <a:spcPct val="0"/>
                </a:spcBef>
                <a:buNone/>
              </a:pPr>
              <a:t>Churn 2018 PROGRAMMATIQUE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48" name="Espace réservé du texte 2">
            <a:extLst>
              <a:ext uri="{FF2B5EF4-FFF2-40B4-BE49-F238E27FC236}">
                <a16:creationId xmlns:a16="http://schemas.microsoft.com/office/drawing/2014/main" id="{A1A34503-BEE4-49AD-A0A6-24A4A4C105E0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5992813" y="5135563"/>
            <a:ext cx="212725" cy="2420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FCC08378-6719-43F7-B95C-E251612980DE}" type="datetime'C''''''h''''urn 2019 ''''P''''''''R''O''''GRAMMA''''T''IQUE'">
              <a:rPr lang="fr-FR" altLang="en-US" smtClean="0"/>
              <a:pPr marL="0" indent="0" algn="r">
                <a:spcBef>
                  <a:spcPct val="0"/>
                </a:spcBef>
                <a:buNone/>
              </a:pPr>
              <a:t>Churn 2019 PROGRAMMATIQUE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67" name="Espace réservé du texte 2">
            <a:extLst>
              <a:ext uri="{FF2B5EF4-FFF2-40B4-BE49-F238E27FC236}">
                <a16:creationId xmlns:a16="http://schemas.microsoft.com/office/drawing/2014/main" id="{ABFC4DDF-C4B3-4DD2-B0B2-1DAB45D236BC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2322513" y="1000125"/>
            <a:ext cx="303213" cy="2127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50303E9-5AF7-4537-A406-3751D9588407}" type="datetime'''''''''''''0'''''''''''''',''5'''''''''''''''''''''">
              <a:rPr lang="fr-FR" altLang="en-US" smtClean="0">
                <a:solidFill>
                  <a:schemeClr val="bg1"/>
                </a:solidFill>
              </a:rPr>
              <a:pPr/>
              <a:t>0,5</a:t>
            </a:fld>
            <a:endParaRPr lang="fr-FR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68" name="Espace réservé du texte 2">
            <a:extLst>
              <a:ext uri="{FF2B5EF4-FFF2-40B4-BE49-F238E27FC236}">
                <a16:creationId xmlns:a16="http://schemas.microsoft.com/office/drawing/2014/main" id="{F699DDB8-B551-46F7-B466-3D6AA739726C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2684463" y="692150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6962756-3264-41CC-B72E-19C259FDC16B}" type="datetime'''''''''''''0'''''''''''''''''''''''''''''',''''1'''''''''''''">
              <a:rPr lang="fr-FR" altLang="en-US" smtClean="0">
                <a:effectLst/>
              </a:rPr>
              <a:pPr/>
              <a:t>0,1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90" name="Espace réservé du texte 2">
            <a:extLst>
              <a:ext uri="{FF2B5EF4-FFF2-40B4-BE49-F238E27FC236}">
                <a16:creationId xmlns:a16="http://schemas.microsoft.com/office/drawing/2014/main" id="{025749F2-DAB1-4930-8CBA-BF51E2B77500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146050" y="790575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4201312-53D1-445B-BFEE-FA610A444D55}" type="datetime'''''''''''''''''''''8'',''''''''''''''''''''''''8'''">
              <a:rPr lang="fr-FR" altLang="en-US" smtClean="0"/>
              <a:pPr/>
              <a:t>8,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27" name="Espace réservé du texte 2">
            <a:extLst>
              <a:ext uri="{FF2B5EF4-FFF2-40B4-BE49-F238E27FC236}">
                <a16:creationId xmlns:a16="http://schemas.microsoft.com/office/drawing/2014/main" id="{15710920-A989-4E72-8303-6C47701AE345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4135438" y="527050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52960A7-DB89-47A3-8732-701F3F126F5F}" type="datetime'9'''''''''',''''''''''''''''''4'''''''''">
              <a:rPr lang="fr-FR" altLang="en-US" smtClean="0"/>
              <a:pPr/>
              <a:t>9,4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29" name="Espace réservé du texte 2">
            <a:extLst>
              <a:ext uri="{FF2B5EF4-FFF2-40B4-BE49-F238E27FC236}">
                <a16:creationId xmlns:a16="http://schemas.microsoft.com/office/drawing/2014/main" id="{FB6DDB69-F5EB-40BF-B875-11174CE7148E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8123238" y="490538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4F2561E-C8AD-450F-A254-4BB69E5FDC30}" type="datetime'''''''''9'''''''''''''''''''',''''''''''''''''''''4'''''''">
              <a:rPr lang="fr-FR" altLang="en-US" smtClean="0"/>
              <a:pPr/>
              <a:t>9,4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80" name="Espace réservé du texte 2">
            <a:extLst>
              <a:ext uri="{FF2B5EF4-FFF2-40B4-BE49-F238E27FC236}">
                <a16:creationId xmlns:a16="http://schemas.microsoft.com/office/drawing/2014/main" id="{8343B1C6-0310-425B-A67D-B1D614E07B90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2728914" y="5135563"/>
            <a:ext cx="212725" cy="161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798639A3-D419-46F3-A78A-7BC2E1BD34C2}" type="datetime'L''''''''''''FL''''2017 ''MAR''''''K''E''''''''''TIN''''''G'''">
              <a:rPr lang="fr-FR" altLang="en-US" smtClean="0"/>
              <a:pPr marL="0" indent="0" algn="r">
                <a:spcBef>
                  <a:spcPct val="0"/>
                </a:spcBef>
                <a:buNone/>
              </a:pPr>
              <a:t>LFL2017 MARKETING</a:t>
            </a:fld>
            <a:endParaRPr lang="fr-FR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04880795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9AE5294-21FB-443B-AC9E-47D53F9097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1331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1" imgW="416" imgH="423" progId="TCLayout.ActiveDocument.1">
                  <p:embed/>
                </p:oleObj>
              </mc:Choice>
              <mc:Fallback>
                <p:oleObj name="think-cell Slide" r:id="rId91" imgW="416" imgH="423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9AE5294-21FB-443B-AC9E-47D53F909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41" hidden="1">
            <a:extLst>
              <a:ext uri="{FF2B5EF4-FFF2-40B4-BE49-F238E27FC236}">
                <a16:creationId xmlns:a16="http://schemas.microsoft.com/office/drawing/2014/main" id="{1CDC1D26-5559-48E5-A3EA-95A60632EA3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fr-FR" sz="1000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latin typeface="Trebuchet MS" panose="020B0603020202020204" pitchFamily="34" charset="0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B7E987-01B8-492B-B78E-0EA088CC8C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780" y="147600"/>
            <a:ext cx="9537820" cy="257213"/>
          </a:xfrm>
        </p:spPr>
        <p:txBody>
          <a:bodyPr/>
          <a:lstStyle/>
          <a:p>
            <a:r>
              <a:rPr lang="fr-FR" dirty="0" err="1"/>
              <a:t>Manageo</a:t>
            </a:r>
            <a:r>
              <a:rPr lang="fr-FR" dirty="0"/>
              <a:t> V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CB9626-71CD-4BA3-B2F8-3277490C0D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AC76BFC-C0C7-43E6-8C47-5B82BE1FE8C0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211388" y="1222375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17BD74F-C2CE-4695-825B-C98607B7AAEC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98463" y="1028700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93180D1-0329-4BD7-89FB-1D3C7322242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936874" y="930275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35E69E33-F7BC-48B5-BFB9-1AA613BFCD88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749800" y="862013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E59DCFEA-4E2E-491D-9868-5C933B455EBD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837238" y="955675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A46CCEE-C924-409E-8B22-1FDA2BDF16FF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61999" y="1123950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C2110883-07E5-439F-A3D5-513B38127C60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5475288" y="933450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18ACEB0-AF3E-45B6-868C-167A218ABA13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1123950" y="2047875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173AED3-29CC-4F4A-B8B0-6B86E5D40959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487488" y="1250950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9A5551A-D2F8-4A30-801B-B12FF7F0961E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849438" y="1011238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484EB71-66AA-4CC7-A1CE-CE17BB88EE96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2574925" y="992188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DF9242C3-2843-4BC5-B805-4507577E0D5E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3300413" y="1277938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39C484F1-E43F-4E4D-9C97-2CBD104967A0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3662363" y="660400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1320587B-3478-4926-B292-81F9C801534D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4024312" y="765175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32B8B41D-A8D0-4201-A6F4-499628D6A7B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4387850" y="765175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26852F15-9342-407C-BD01-CF98C33A24DE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5111750" y="1622425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16DE21E7-E83D-45B3-9B1F-54123640BF36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6200775" y="1169988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2344ACFE-95B4-4CD8-B2B5-8BBBA91C076B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6562725" y="831850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3A3A4060-0305-4CD6-AE05-5D2CAB5C8575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6924675" y="657225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0AB89549-9BD4-4134-A654-B783ADA3429A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7288213" y="1300163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E13F32FE-B587-4149-B54B-694CF29F946A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7650163" y="603250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31376330-621D-40CF-94C1-B1F2B1C49323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8013700" y="728663"/>
            <a:ext cx="1603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05" name="Chart 104">
            <a:extLst>
              <a:ext uri="{FF2B5EF4-FFF2-40B4-BE49-F238E27FC236}">
                <a16:creationId xmlns:a16="http://schemas.microsoft.com/office/drawing/2014/main" id="{95039089-9AEE-4ECA-9AF9-413E29C9A1B3}"/>
              </a:ext>
            </a:extLst>
          </p:cNvPr>
          <p:cNvGraphicFramePr/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61287429"/>
              </p:ext>
            </p:extLst>
          </p:nvPr>
        </p:nvGraphicFramePr>
        <p:xfrm>
          <a:off x="34925" y="520700"/>
          <a:ext cx="8504238" cy="4638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3"/>
          </a:graphicData>
        </a:graphic>
      </p:graphicFrame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757039C-D34B-4E35-9552-004F0B46FDF3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auto">
          <a:xfrm flipV="1">
            <a:off x="5735638" y="944563"/>
            <a:ext cx="0" cy="3651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BC59FA9-33D7-4905-962C-3F257303654E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V="1">
            <a:off x="660400" y="1076325"/>
            <a:ext cx="0" cy="7302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298AAB4-D8D2-4B0A-8046-CD07D3928028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 flipV="1">
            <a:off x="3922713" y="712787"/>
            <a:ext cx="0" cy="7778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54A49962-207E-4BBB-B1EB-6A78333C351D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2835275" y="904875"/>
            <a:ext cx="0" cy="5556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A33EB4E-C1D5-41D3-A3FA-DD281150C253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V="1">
            <a:off x="4648200" y="814388"/>
            <a:ext cx="0" cy="7302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C896D48-51EC-4442-A4E1-DCC1F34BA54C}"/>
              </a:ext>
            </a:extLst>
          </p:cNvPr>
          <p:cNvCxnSpPr>
            <a:cxnSpLocks/>
          </p:cNvCxnSpPr>
          <p:nvPr>
            <p:custDataLst>
              <p:tags r:id="rId31"/>
            </p:custDataLst>
          </p:nvPr>
        </p:nvCxnSpPr>
        <p:spPr bwMode="auto">
          <a:xfrm flipV="1">
            <a:off x="7912100" y="666750"/>
            <a:ext cx="0" cy="8731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Espace réservé du texte 2">
            <a:extLst>
              <a:ext uri="{FF2B5EF4-FFF2-40B4-BE49-F238E27FC236}">
                <a16:creationId xmlns:a16="http://schemas.microsoft.com/office/drawing/2014/main" id="{298C5767-35C8-4A49-BA46-1E02CE8A059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641475" y="1054100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37F5870-36ED-40DB-B27F-05E4527E544D}" type="datetime'''''''''''''''''0''''''.''''''''''''''''''''''''''''5'''''">
              <a:rPr lang="fr-FR" altLang="en-US" sz="1000" smtClean="0">
                <a:solidFill>
                  <a:schemeClr val="bg1"/>
                </a:solidFill>
              </a:rPr>
              <a:pPr/>
              <a:t>0.5</a:t>
            </a:fld>
            <a:endParaRPr lang="fr-FR" sz="10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68" name="Espace réservé du texte 2">
            <a:extLst>
              <a:ext uri="{FF2B5EF4-FFF2-40B4-BE49-F238E27FC236}">
                <a16:creationId xmlns:a16="http://schemas.microsoft.com/office/drawing/2014/main" id="{F699DDB8-B551-46F7-B466-3D6AA739726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728913" y="75247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E1AD564-3D15-435C-A862-BCE321F83544}" type="datetime'0''''''''''''''.''''''''''''''''''''''''''''''''1'''''">
              <a:rPr lang="fr-FR" altLang="en-US" sz="1000" smtClean="0"/>
              <a:pPr/>
              <a:t>0.1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75" name="Espace réservé du texte 2">
            <a:extLst>
              <a:ext uri="{FF2B5EF4-FFF2-40B4-BE49-F238E27FC236}">
                <a16:creationId xmlns:a16="http://schemas.microsoft.com/office/drawing/2014/main" id="{7BE01F4C-A047-4D91-B3E6-1EBF50A89DB2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671638" y="5119688"/>
            <a:ext cx="152400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71DE840-F20F-4CA5-B1B6-6C867E776DF7}" type="datetime'''LFL'''''''''' ''''''''2''''''01''''''''''''''''7'''''''''">
              <a:rPr lang="fr-FR" altLang="en-US" sz="1000" smtClean="0"/>
              <a:pPr/>
              <a:t>LFL 2017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84" name="Espace réservé du texte 2">
            <a:extLst>
              <a:ext uri="{FF2B5EF4-FFF2-40B4-BE49-F238E27FC236}">
                <a16:creationId xmlns:a16="http://schemas.microsoft.com/office/drawing/2014/main" id="{5668CDA6-9517-4468-8B6B-F311104237DC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122613" y="5119689"/>
            <a:ext cx="152400" cy="639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BFFC7C1-D36A-48B6-948E-8669E49E4228}" type="datetime'''''C''h''''''u''r''''n 2''''''0''''''''''''1''8'">
              <a:rPr lang="fr-FR" altLang="en-US" sz="1000" smtClean="0"/>
              <a:pPr/>
              <a:t>Churn 201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66" name="Espace réservé du texte 2">
            <a:extLst>
              <a:ext uri="{FF2B5EF4-FFF2-40B4-BE49-F238E27FC236}">
                <a16:creationId xmlns:a16="http://schemas.microsoft.com/office/drawing/2014/main" id="{12E119BA-F1A2-481A-9A53-C6D19CE106B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979613" y="1039813"/>
            <a:ext cx="260350" cy="15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B7CD791-40A3-44C0-8FB4-0C3B28FE09A8}" type="datetime'''''''''-''''''''''0''''''''''''''''''''''.''''''''''5'">
              <a:rPr lang="fr-FR" altLang="en-US" sz="1000" smtClean="0">
                <a:solidFill>
                  <a:schemeClr val="bg1"/>
                </a:solidFill>
                <a:effectLst/>
              </a:rPr>
              <a:pPr/>
              <a:t>-0.5</a:t>
            </a:fld>
            <a:endParaRPr lang="fr-FR" sz="10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56" name="Espace réservé du texte 2">
            <a:extLst>
              <a:ext uri="{FF2B5EF4-FFF2-40B4-BE49-F238E27FC236}">
                <a16:creationId xmlns:a16="http://schemas.microsoft.com/office/drawing/2014/main" id="{38E7A75D-A70B-4A5D-93D6-596AE5D92F11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8134350" y="5119688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37CAAAC-6FCA-4030-8024-EE753EED5223}" type="datetime'2''''0''''''''''''''''''''''''''''1''''''''''''''''''''''''9'">
              <a:rPr lang="fr-FR" altLang="en-US" sz="1000" smtClean="0"/>
              <a:pPr/>
              <a:t>201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80" name="Espace réservé du texte 2">
            <a:extLst>
              <a:ext uri="{FF2B5EF4-FFF2-40B4-BE49-F238E27FC236}">
                <a16:creationId xmlns:a16="http://schemas.microsoft.com/office/drawing/2014/main" id="{8343B1C6-0310-425B-A67D-B1D614E07B90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2759075" y="5119688"/>
            <a:ext cx="152400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64575095-AC7E-439A-A9B6-D8B3520B05FC}" type="datetime'''''''''''''L''FL'''''''''' ''''''2''0''''''''''''1''''''''7'">
              <a:rPr lang="fr-FR" altLang="en-US" sz="1000" smtClean="0"/>
              <a:pPr/>
              <a:t>LFL 2017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70" name="Espace réservé du texte 2">
            <a:extLst>
              <a:ext uri="{FF2B5EF4-FFF2-40B4-BE49-F238E27FC236}">
                <a16:creationId xmlns:a16="http://schemas.microsoft.com/office/drawing/2014/main" id="{DDA7F275-3E91-4672-B746-98CB2DB73E68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068638" y="1027113"/>
            <a:ext cx="260350" cy="152400"/>
          </a:xfrm>
          <a:prstGeom prst="rect">
            <a:avLst/>
          </a:prstGeom>
          <a:solidFill>
            <a:srgbClr val="D6D7D9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416788A-64DB-470A-AA26-A92C4D1ABC2F}" type="datetime'-''''''''''''''''0''''''''''.''''''''''''8'">
              <a:rPr lang="fr-FR" altLang="en-US" sz="1000" smtClean="0">
                <a:effectLst/>
              </a:rPr>
              <a:pPr/>
              <a:t>-0.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36" name="Espace réservé du texte 2">
            <a:extLst>
              <a:ext uri="{FF2B5EF4-FFF2-40B4-BE49-F238E27FC236}">
                <a16:creationId xmlns:a16="http://schemas.microsoft.com/office/drawing/2014/main" id="{C819B29B-5BD2-472C-8BC7-6935824FC920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3484563" y="5119688"/>
            <a:ext cx="152400" cy="82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BA75042-277C-4147-80B6-98BA52925AAA}" type="datetime'''N''ew ''l''''o''''''g''o'''' ''20''''''''''1''8'''''">
              <a:rPr lang="fr-FR" altLang="en-US" sz="1000" smtClean="0"/>
              <a:pPr/>
              <a:t>New logo 201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74" name="Espace réservé du texte 2">
            <a:extLst>
              <a:ext uri="{FF2B5EF4-FFF2-40B4-BE49-F238E27FC236}">
                <a16:creationId xmlns:a16="http://schemas.microsoft.com/office/drawing/2014/main" id="{3CD5DB7B-0394-4BB0-829E-3BF0C288B5A5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3792538" y="790575"/>
            <a:ext cx="2603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9B5C0CD-76A8-43BA-A2DE-693A69E1564B}" type="datetime'''''-''''''''''''''''''''''0''''.2'''''''">
              <a:rPr lang="fr-FR" altLang="en-US" sz="1000" smtClean="0"/>
              <a:pPr/>
              <a:t>-0.2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2" name="Espace réservé du texte 2">
            <a:extLst>
              <a:ext uri="{FF2B5EF4-FFF2-40B4-BE49-F238E27FC236}">
                <a16:creationId xmlns:a16="http://schemas.microsoft.com/office/drawing/2014/main" id="{D25303E9-E1E5-4906-84DE-CD5B2CF750E7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179888" y="3535363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4A171C5-F98E-4549-A319-A58190869528}" type="datetime'''''2''''''''.''''''''''''5'''''''''''''''''''''''''''">
              <a:rPr lang="fr-FR" altLang="en-US" sz="1000" smtClean="0"/>
              <a:pPr/>
              <a:t>2.5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38" name="Espace réservé du texte 2">
            <a:extLst>
              <a:ext uri="{FF2B5EF4-FFF2-40B4-BE49-F238E27FC236}">
                <a16:creationId xmlns:a16="http://schemas.microsoft.com/office/drawing/2014/main" id="{A6117674-F5C7-4E96-8E94-2214BAE7CE9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3846513" y="5119689"/>
            <a:ext cx="15240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279A038-2692-44B7-8088-B8F88822D8BF}" type="datetime'''''''''''A''u''''''''''t''''''''''r''e'">
              <a:rPr lang="fr-FR" altLang="en-US" sz="1000" smtClean="0"/>
              <a:pPr/>
              <a:t>Autre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51" name="Espace réservé du texte 2">
            <a:extLst>
              <a:ext uri="{FF2B5EF4-FFF2-40B4-BE49-F238E27FC236}">
                <a16:creationId xmlns:a16="http://schemas.microsoft.com/office/drawing/2014/main" id="{8438C64D-C6D2-4FFC-8822-367F455ABD5D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7110413" y="5119689"/>
            <a:ext cx="152400" cy="639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AB1CB43A-0991-40E4-842D-3D9FC9E9CE3A}" type="datetime'''''''''C''''h''''''''ur''n ''''''''''''''2''''0''''''''''19'">
              <a:rPr lang="fr-FR" altLang="en-US" sz="1000" smtClean="0"/>
              <a:pPr/>
              <a:t>Churn 201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3" name="Espace réservé du texte 2">
            <a:extLst>
              <a:ext uri="{FF2B5EF4-FFF2-40B4-BE49-F238E27FC236}">
                <a16:creationId xmlns:a16="http://schemas.microsoft.com/office/drawing/2014/main" id="{1E634131-431A-4965-8368-10AC00F0FADC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179888" y="2179638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BD08D8F-8B9B-42A6-AC86-AD066B3B9C70}" type="datetime'''''''''''''''''''3''.''''''''''''''''''''''''''''4'''''''">
              <a:rPr lang="fr-FR" altLang="en-US" sz="1000" smtClean="0"/>
              <a:pPr/>
              <a:t>3.4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83" name="Espace réservé du texte 2">
            <a:extLst>
              <a:ext uri="{FF2B5EF4-FFF2-40B4-BE49-F238E27FC236}">
                <a16:creationId xmlns:a16="http://schemas.microsoft.com/office/drawing/2014/main" id="{155C8652-A4AF-47ED-AD4A-C560F4646572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518025" y="887413"/>
            <a:ext cx="2603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33F01EF-E506-4D18-9CFA-FFDE53224445}" type="datetime'''''''''''''''''-''''''''''''''''''''0''''''.2'''''''''''">
              <a:rPr lang="fr-FR" altLang="en-US" sz="1000" smtClean="0"/>
              <a:pPr/>
              <a:t>-0.2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89" name="Espace réservé du texte 2">
            <a:extLst>
              <a:ext uri="{FF2B5EF4-FFF2-40B4-BE49-F238E27FC236}">
                <a16:creationId xmlns:a16="http://schemas.microsoft.com/office/drawing/2014/main" id="{75BF1C62-6B77-450F-BE62-01A6DA6275D4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6354763" y="92392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35EF049-16B1-4717-8C96-A7646ED4552C}" type="datetime'''''0''.''''''''''''''''''''''''''''''''''''7'''''''''">
              <a:rPr lang="fr-FR" altLang="en-US" sz="1000" smtClean="0">
                <a:solidFill>
                  <a:schemeClr val="bg1"/>
                </a:solidFill>
              </a:rPr>
              <a:pPr/>
              <a:t>0.7</a:t>
            </a:fld>
            <a:endParaRPr lang="fr-FR" sz="10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41" name="Espace réservé du texte 2">
            <a:extLst>
              <a:ext uri="{FF2B5EF4-FFF2-40B4-BE49-F238E27FC236}">
                <a16:creationId xmlns:a16="http://schemas.microsoft.com/office/drawing/2014/main" id="{440C7EC8-B70D-4262-AD6E-8F191E94F44A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210050" y="5119688"/>
            <a:ext cx="152400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F0A9DEC-6265-4449-841C-BDF2340D8CFB}" type="datetime'''''2''''''''''''0''''''''''''1''''''8'''''''''''''''''''''''">
              <a:rPr lang="fr-FR" altLang="en-US" sz="1000" smtClean="0"/>
              <a:pPr/>
              <a:t>201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DB090A12-4885-4630-9798-0F510F805F63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4572000" y="5119688"/>
            <a:ext cx="152400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DBC4BA94-6D32-4B5C-B2E3-39B7666B0A34}" type="datetime'''''''L''''F''''''''''L ''''''''''''''2''''0''''1''''8'''''''">
              <a:rPr lang="fr-FR" altLang="en-US" sz="1000" smtClean="0"/>
              <a:pPr/>
              <a:t>LFL 201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90" name="Espace réservé du texte 2">
            <a:extLst>
              <a:ext uri="{FF2B5EF4-FFF2-40B4-BE49-F238E27FC236}">
                <a16:creationId xmlns:a16="http://schemas.microsoft.com/office/drawing/2014/main" id="{7A22ECA2-A6F3-48A2-B3C1-50925CFA9B1E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190501" y="2381250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022E639-995E-40C4-932D-8AC78E0AEBE4}" type="datetime'''''''''''''2''''''''''''''.''7'''''''''''''''''''''">
              <a:rPr lang="fr-FR" altLang="en-US" sz="1000" smtClean="0"/>
              <a:pPr/>
              <a:t>2.7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50" name="Espace réservé du texte 2">
            <a:extLst>
              <a:ext uri="{FF2B5EF4-FFF2-40B4-BE49-F238E27FC236}">
                <a16:creationId xmlns:a16="http://schemas.microsoft.com/office/drawing/2014/main" id="{D72427FF-C6FE-479E-BEE3-0058257BC7AA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6746875" y="5119688"/>
            <a:ext cx="152400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AA6C0FFB-F46B-4CC9-A907-92009650AD26}" type="datetime'''''L''''F''''''L'''''''''' ''''2''''''''''''''0''''1''8'">
              <a:rPr lang="fr-FR" altLang="en-US" sz="1000" smtClean="0"/>
              <a:pPr/>
              <a:t>LFL 201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85" name="Espace réservé du texte 2">
            <a:extLst>
              <a:ext uri="{FF2B5EF4-FFF2-40B4-BE49-F238E27FC236}">
                <a16:creationId xmlns:a16="http://schemas.microsoft.com/office/drawing/2014/main" id="{EFC96EA3-CEDC-47BB-AFD9-6692C7994F12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4879975" y="1165225"/>
            <a:ext cx="260350" cy="152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7A0304C-A979-40A4-A1C2-7E19DE0CE055}" type="datetime'''''''''''-''''''''''''1''''.''''''7'''''''">
              <a:rPr lang="fr-FR" altLang="en-US" sz="1000" smtClean="0">
                <a:effectLst/>
              </a:rPr>
              <a:pPr/>
              <a:t>-1.7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7D7444CA-27C7-485C-81DB-FA02C616A8F9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4933950" y="5119689"/>
            <a:ext cx="152400" cy="639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028B864D-566D-4A9C-A117-2BAE873C6F2D}" type="datetime'''''C''h''''''''u''r''n'''''''''''''''''' 2019'''''''''">
              <a:rPr lang="fr-FR" altLang="en-US" sz="1000" smtClean="0"/>
              <a:pPr/>
              <a:t>Churn 201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86" name="Espace réservé du texte 2">
            <a:extLst>
              <a:ext uri="{FF2B5EF4-FFF2-40B4-BE49-F238E27FC236}">
                <a16:creationId xmlns:a16="http://schemas.microsoft.com/office/drawing/2014/main" id="{14F09620-61FF-4685-B42A-E1A89ABBC3F0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5267325" y="1201738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6E38BB8-EC00-43C2-BDBE-E156D36E6774}" type="datetime'''''''''''1''''.''''''''''''5'''''''''''">
              <a:rPr lang="fr-FR" altLang="en-US" sz="1000" smtClean="0"/>
              <a:pPr/>
              <a:t>1.5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37C4A892-C96D-4089-A864-8F09519D4CE9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5297488" y="5119688"/>
            <a:ext cx="152400" cy="82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88BD3BF8-0B99-47DF-A959-72AF39877EC2}" type="datetime'N''''''''''''e''''''''''w'''' lo''''''''''''go 20''1''''''9'''">
              <a:rPr lang="fr-FR" altLang="en-US" sz="1000" smtClean="0"/>
              <a:pPr/>
              <a:t>New logo 201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1" name="Espace réservé du texte 2">
            <a:extLst>
              <a:ext uri="{FF2B5EF4-FFF2-40B4-BE49-F238E27FC236}">
                <a16:creationId xmlns:a16="http://schemas.microsoft.com/office/drawing/2014/main" id="{CEE11826-F56E-4E67-A972-C3DA3C1497E0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4179888" y="454977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A260872-5585-4DE7-8AFB-79053F075F11}" type="datetime'''''''''''''''''''''''''''''''''''''2''''''''''.''''''''0'''">
              <a:rPr lang="fr-FR" altLang="en-US" sz="1000" smtClean="0">
                <a:solidFill>
                  <a:schemeClr val="bg1"/>
                </a:solidFill>
              </a:rPr>
              <a:pPr/>
              <a:t>2.0</a:t>
            </a:fld>
            <a:endParaRPr lang="fr-FR" sz="10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110" name="Espace réservé du texte 2">
            <a:extLst>
              <a:ext uri="{FF2B5EF4-FFF2-40B4-BE49-F238E27FC236}">
                <a16:creationId xmlns:a16="http://schemas.microsoft.com/office/drawing/2014/main" id="{0A4C38E5-0C6B-4EAC-B171-A24C9E4C9379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8167688" y="449897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10C7764-92AF-44C4-8335-398615A5DF8A}" type="datetime'''''2''''.''''''''''''''''''''''''''''''''''''''''''''''''2'">
              <a:rPr lang="fr-FR" altLang="en-US" sz="1000" smtClean="0">
                <a:solidFill>
                  <a:schemeClr val="bg1"/>
                </a:solidFill>
              </a:rPr>
              <a:pPr/>
              <a:t>2.2</a:t>
            </a:fld>
            <a:endParaRPr lang="fr-FR" sz="10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87" name="Espace réservé du texte 2">
            <a:extLst>
              <a:ext uri="{FF2B5EF4-FFF2-40B4-BE49-F238E27FC236}">
                <a16:creationId xmlns:a16="http://schemas.microsoft.com/office/drawing/2014/main" id="{61B7E99B-048A-4E53-AD9D-AE7E3FEF0D3D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5629275" y="98107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C035A06-F796-47A6-BDEB-12FAE1943036}" type="datetime'''''''''''''''''''0''''''''.''''0'''''''''''''''''''''''''''">
              <a:rPr lang="fr-FR" altLang="en-US" sz="1000" smtClean="0"/>
              <a:pPr/>
              <a:t>0.0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7" name="Espace réservé du texte 2">
            <a:extLst>
              <a:ext uri="{FF2B5EF4-FFF2-40B4-BE49-F238E27FC236}">
                <a16:creationId xmlns:a16="http://schemas.microsoft.com/office/drawing/2014/main" id="{1B615CD3-BD7C-461C-856B-CDF30EE87556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5659438" y="5119688"/>
            <a:ext cx="152400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5A0DEF0-19DC-4F16-8593-35D319F9C58E}" type="datetime'''''''''L''''''''''''F''L'' ''''2''''''0''''''''1''''''8'''''">
              <a:rPr lang="fr-FR" altLang="en-US" sz="1000" smtClean="0"/>
              <a:pPr/>
              <a:t>LFL 201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88" name="Espace réservé du texte 2">
            <a:extLst>
              <a:ext uri="{FF2B5EF4-FFF2-40B4-BE49-F238E27FC236}">
                <a16:creationId xmlns:a16="http://schemas.microsoft.com/office/drawing/2014/main" id="{61A701AA-0443-4D76-8F67-EFD99F9C9D13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5969000" y="985838"/>
            <a:ext cx="260350" cy="15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50968A0-A94F-445D-9907-99123F0190FD}" type="datetime'''''''''''-''''0''''''''''''.''5'''">
              <a:rPr lang="fr-FR" altLang="en-US" sz="1000" smtClean="0">
                <a:solidFill>
                  <a:schemeClr val="bg1"/>
                </a:solidFill>
                <a:effectLst/>
              </a:rPr>
              <a:pPr/>
              <a:t>-0.5</a:t>
            </a:fld>
            <a:endParaRPr lang="fr-FR" sz="10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97" name="Espace réservé du texte 2">
            <a:extLst>
              <a:ext uri="{FF2B5EF4-FFF2-40B4-BE49-F238E27FC236}">
                <a16:creationId xmlns:a16="http://schemas.microsoft.com/office/drawing/2014/main" id="{9D8DA086-522B-4030-9CA5-1D73B28200EA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7781925" y="754063"/>
            <a:ext cx="2603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0F2A874-14C9-4AE9-8182-8396321CECE8}" type="datetime'''''''''''''''-''''''''''0''''''''.''3'''''''''''''''''''''">
              <a:rPr lang="fr-FR" altLang="en-US" sz="1000" smtClean="0"/>
              <a:pPr/>
              <a:t>-0.3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8" name="Espace réservé du texte 2">
            <a:extLst>
              <a:ext uri="{FF2B5EF4-FFF2-40B4-BE49-F238E27FC236}">
                <a16:creationId xmlns:a16="http://schemas.microsoft.com/office/drawing/2014/main" id="{A1A34503-BEE4-49AD-A0A6-24A4A4C105E0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6022975" y="5119689"/>
            <a:ext cx="152400" cy="639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90870F58-2B56-4158-8CF2-C3A570113AB6}" type="datetime'''''''''''''C''''h''''''''''u''''''rn'''''''' ''20''''''19'''">
              <a:rPr lang="fr-FR" altLang="en-US" sz="1000" smtClean="0"/>
              <a:pPr/>
              <a:t>Churn 201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9" name="Espace réservé du texte 2">
            <a:extLst>
              <a:ext uri="{FF2B5EF4-FFF2-40B4-BE49-F238E27FC236}">
                <a16:creationId xmlns:a16="http://schemas.microsoft.com/office/drawing/2014/main" id="{173F7979-4963-4DE4-A943-A7FE77DA18DC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6384925" y="5119688"/>
            <a:ext cx="152400" cy="82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513C91E-E84F-4217-B29E-3D8AB0A662D1}" type="datetime'''''''N''e''''''''''''''''w ''l''og''''o ''20''''''''''''''19'">
              <a:rPr lang="fr-FR" altLang="en-US" sz="1000" smtClean="0"/>
              <a:pPr/>
              <a:t>New logo 201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92" name="Espace réservé du texte 2">
            <a:extLst>
              <a:ext uri="{FF2B5EF4-FFF2-40B4-BE49-F238E27FC236}">
                <a16:creationId xmlns:a16="http://schemas.microsoft.com/office/drawing/2014/main" id="{B09D6A75-52B9-4BFA-93CE-8D5C3093BBB6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190501" y="1354138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C842FE5-6292-463C-A66C-01753BF1CA3D}" type="datetime'''''1''''''''''''''''''''''''''''''''''''''''''''.''''''7'''''">
              <a:rPr lang="fr-FR" altLang="en-US" sz="1000" smtClean="0">
                <a:solidFill>
                  <a:schemeClr val="bg1"/>
                </a:solidFill>
              </a:rPr>
              <a:pPr/>
              <a:t>1.7</a:t>
            </a:fld>
            <a:endParaRPr lang="fr-FR" sz="10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95" name="Espace réservé du texte 2">
            <a:extLst>
              <a:ext uri="{FF2B5EF4-FFF2-40B4-BE49-F238E27FC236}">
                <a16:creationId xmlns:a16="http://schemas.microsoft.com/office/drawing/2014/main" id="{F2F488DD-FFAB-4421-A858-131A9C00D9DA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7056438" y="901700"/>
            <a:ext cx="260350" cy="152400"/>
          </a:xfrm>
          <a:prstGeom prst="rect">
            <a:avLst/>
          </a:prstGeom>
          <a:solidFill>
            <a:srgbClr val="D6D7D9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0DCB5D8-FD76-4DA7-8B0A-BB9192C4E432}" type="datetime'-''''''''''''''''1''''''.''''''''''''''4'''''''">
              <a:rPr lang="fr-FR" altLang="en-US" sz="1000" smtClean="0">
                <a:effectLst/>
              </a:rPr>
              <a:pPr/>
              <a:t>-1.4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24" name="Espace réservé du texte 2">
            <a:extLst>
              <a:ext uri="{FF2B5EF4-FFF2-40B4-BE49-F238E27FC236}">
                <a16:creationId xmlns:a16="http://schemas.microsoft.com/office/drawing/2014/main" id="{7AD96A6C-2204-4E2D-AC64-E5DC901F2F54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8167688" y="939800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F2FA5AF-0B91-4547-B927-861A3FC20C12}" type="datetime'''''''''''''''''''''1''''''''''''''''''''.2'''''''''''''''''">
              <a:rPr lang="fr-FR" altLang="en-US" sz="1000" smtClean="0">
                <a:solidFill>
                  <a:schemeClr val="bg1"/>
                </a:solidFill>
              </a:rPr>
              <a:pPr/>
              <a:t>1.2</a:t>
            </a:fld>
            <a:endParaRPr lang="fr-FR" sz="10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96" name="Espace réservé du texte 2">
            <a:extLst>
              <a:ext uri="{FF2B5EF4-FFF2-40B4-BE49-F238E27FC236}">
                <a16:creationId xmlns:a16="http://schemas.microsoft.com/office/drawing/2014/main" id="{AFFF5B02-4C3E-4C0F-81E2-5980A01EFDBE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7442200" y="874713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6F5FA83-2BA3-4EB6-BC5F-F903C2EF707E}" type="datetime'''''''''''1''''''''''''''''''.''''''''''''''''''5'">
              <a:rPr lang="fr-FR" altLang="en-US" sz="1000" smtClean="0"/>
              <a:pPr/>
              <a:t>1.5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52" name="Espace réservé du texte 2">
            <a:extLst>
              <a:ext uri="{FF2B5EF4-FFF2-40B4-BE49-F238E27FC236}">
                <a16:creationId xmlns:a16="http://schemas.microsoft.com/office/drawing/2014/main" id="{8D58C6F9-7147-491D-B22F-AFD5D1FA2664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7472363" y="5119688"/>
            <a:ext cx="152400" cy="82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14F305F-01DE-4D16-BA43-07DF69C485D4}" type="datetime'N''''''ew'''''' ''''l''''''''''''''o''g''o 20''''''''19'''''''">
              <a:rPr lang="fr-FR" altLang="en-US" sz="1000" smtClean="0"/>
              <a:pPr/>
              <a:t>New logo 201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79" name="Espace réservé du texte 2">
            <a:extLst>
              <a:ext uri="{FF2B5EF4-FFF2-40B4-BE49-F238E27FC236}">
                <a16:creationId xmlns:a16="http://schemas.microsoft.com/office/drawing/2014/main" id="{B71EC7A3-507F-4E0A-89CF-50FEDFCE41DF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2397125" y="5119688"/>
            <a:ext cx="152400" cy="82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C1867A1-7A1A-48E3-9EE2-85B375696F6B}" type="datetime'''''''''N''''''''e''w ''''''''log''o'''''''''''''' ''20''18'''">
              <a:rPr lang="fr-FR" altLang="en-US" sz="1000" smtClean="0"/>
              <a:pPr/>
              <a:t>New logo 201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61" name="Espace réservé du texte 2">
            <a:extLst>
              <a:ext uri="{FF2B5EF4-FFF2-40B4-BE49-F238E27FC236}">
                <a16:creationId xmlns:a16="http://schemas.microsoft.com/office/drawing/2014/main" id="{6D78BA14-76CF-4AA2-B9B1-12E00EE02C40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530225" y="1149350"/>
            <a:ext cx="2603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882A1D0-D341-423A-91C2-57F608A43449}" type="datetime'''''''''''-''0''''''''''.2'''''''''''''">
              <a:rPr lang="fr-FR" altLang="en-US" sz="1000" smtClean="0"/>
              <a:pPr/>
              <a:t>-0.2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4" name="Espace réservé du texte 2">
            <a:extLst>
              <a:ext uri="{FF2B5EF4-FFF2-40B4-BE49-F238E27FC236}">
                <a16:creationId xmlns:a16="http://schemas.microsoft.com/office/drawing/2014/main" id="{2A5F4B67-4D00-4A79-8D33-48C80915D6FF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4179888" y="103822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D832EE0-2D82-4350-A326-A0F7B605D9E0}" type="datetime'''''''''''''''''''''''''1''''.''''5'''">
              <a:rPr lang="fr-FR" altLang="en-US" sz="1000" smtClean="0">
                <a:solidFill>
                  <a:schemeClr val="bg1"/>
                </a:solidFill>
              </a:rPr>
              <a:pPr/>
              <a:t>1.5</a:t>
            </a:fld>
            <a:endParaRPr lang="fr-FR" sz="10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82" name="Espace réservé du texte 2">
            <a:extLst>
              <a:ext uri="{FF2B5EF4-FFF2-40B4-BE49-F238E27FC236}">
                <a16:creationId xmlns:a16="http://schemas.microsoft.com/office/drawing/2014/main" id="{715F4065-4302-44F3-A4E0-A8A45F9FDB2E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190501" y="3681413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6CA7107-4DD8-4365-BE78-4EA412118A67}" type="datetime'''''''''''''''2''''''''''''.''9'">
              <a:rPr lang="fr-FR" altLang="en-US" sz="1000" smtClean="0"/>
              <a:pPr/>
              <a:t>2.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81" name="Espace réservé du texte 2">
            <a:extLst>
              <a:ext uri="{FF2B5EF4-FFF2-40B4-BE49-F238E27FC236}">
                <a16:creationId xmlns:a16="http://schemas.microsoft.com/office/drawing/2014/main" id="{8025EFB2-F2F9-4712-BF5E-9453802A457F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190501" y="4678363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0983A64-D3C4-4218-8949-714CD08FB09A}" type="datetime'''''''''''''''1''''''''''''.''''''''4'''''''''">
              <a:rPr lang="fr-FR" altLang="en-US" sz="1000" smtClean="0">
                <a:solidFill>
                  <a:schemeClr val="bg1"/>
                </a:solidFill>
              </a:rPr>
              <a:pPr/>
              <a:t>1.4</a:t>
            </a:fld>
            <a:endParaRPr lang="fr-FR" sz="10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78" name="Espace réservé du texte 2">
            <a:extLst>
              <a:ext uri="{FF2B5EF4-FFF2-40B4-BE49-F238E27FC236}">
                <a16:creationId xmlns:a16="http://schemas.microsoft.com/office/drawing/2014/main" id="{8A55D17A-D6B6-4F77-B657-066C85C70D8B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2033588" y="5119689"/>
            <a:ext cx="152400" cy="639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73E35C86-1E41-44E9-A065-E2E62868F7F5}" type="datetime'''''''C''''''h''''urn'''''' ''''''''''2''''''''''''0''''18'''">
              <a:rPr lang="fr-FR" altLang="en-US" sz="1000" smtClean="0"/>
              <a:pPr/>
              <a:t>Churn 201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69" name="Espace réservé du texte 2">
            <a:extLst>
              <a:ext uri="{FF2B5EF4-FFF2-40B4-BE49-F238E27FC236}">
                <a16:creationId xmlns:a16="http://schemas.microsoft.com/office/drawing/2014/main" id="{0DD80383-1195-4C08-B4CC-E4F101EF5A17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584200" y="5119688"/>
            <a:ext cx="152400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F2E760B-0FA9-45CB-B005-ECE1DA5BCF76}" type="datetime'L''''FL 2''''0''''''''''''''''1''7'''''">
              <a:rPr lang="fr-FR" altLang="en-US" sz="1000" smtClean="0"/>
              <a:pPr/>
              <a:t>LFL 2017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62" name="Espace réservé du texte 2">
            <a:extLst>
              <a:ext uri="{FF2B5EF4-FFF2-40B4-BE49-F238E27FC236}">
                <a16:creationId xmlns:a16="http://schemas.microsoft.com/office/drawing/2014/main" id="{DDA89CF1-ED96-464B-A95D-B2E5C84A9B05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220663" y="5119688"/>
            <a:ext cx="152400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A1988A6-A4AC-457B-9D37-C531F315AF93}" type="datetime'''2''0''''1''''7'''''''''''''''''">
              <a:rPr lang="fr-FR" altLang="en-US" sz="1000" smtClean="0"/>
              <a:pPr/>
              <a:t>2017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94" name="Espace réservé du texte 2">
            <a:extLst>
              <a:ext uri="{FF2B5EF4-FFF2-40B4-BE49-F238E27FC236}">
                <a16:creationId xmlns:a16="http://schemas.microsoft.com/office/drawing/2014/main" id="{2BB7C84E-84D1-40B0-B2ED-997FC7B15167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6716713" y="668338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883122C-C7F5-4FBF-8D11-6E1E3DF098C0}" type="datetime'''''''''''0''''''.''4'''''''''''''''''''''''''">
              <a:rPr lang="fr-FR" altLang="en-US" sz="1000" smtClean="0"/>
              <a:pPr/>
              <a:t>0.4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53" name="Espace réservé du texte 2">
            <a:extLst>
              <a:ext uri="{FF2B5EF4-FFF2-40B4-BE49-F238E27FC236}">
                <a16:creationId xmlns:a16="http://schemas.microsoft.com/office/drawing/2014/main" id="{495EC0D1-2C95-4ECC-8818-CB2B6BBB692C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7835900" y="5119689"/>
            <a:ext cx="15240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D5E8A66-565D-4046-8E2A-0179E97427ED}" type="datetime'''A''''''u''t''''''''''''''''''''r''''''e'''''''''''">
              <a:rPr lang="fr-FR" altLang="en-US" sz="1000" smtClean="0"/>
              <a:pPr/>
              <a:t>Autre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72" name="Espace réservé du texte 2">
            <a:extLst>
              <a:ext uri="{FF2B5EF4-FFF2-40B4-BE49-F238E27FC236}">
                <a16:creationId xmlns:a16="http://schemas.microsoft.com/office/drawing/2014/main" id="{5BC2416C-1277-436F-BF4E-FC0F8DA4C2C2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3454400" y="89217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3C296F8-60C4-40C8-A093-949D10AB3386}" type="datetime'''1''''''''''''''''''''''''''''''''''.''''''3'">
              <a:rPr lang="fr-FR" altLang="en-US" sz="1000" smtClean="0"/>
              <a:pPr/>
              <a:t>1.3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63" name="Espace réservé du texte 2">
            <a:extLst>
              <a:ext uri="{FF2B5EF4-FFF2-40B4-BE49-F238E27FC236}">
                <a16:creationId xmlns:a16="http://schemas.microsoft.com/office/drawing/2014/main" id="{96547454-1D04-4F76-85D3-8AA4EB372CF9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892175" y="1509713"/>
            <a:ext cx="260350" cy="152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C3511A4-2C08-43E3-978B-DDEE71E1BBD8}" type="datetime'''''''-''''''''''''''''''''''2''''.''''''''''0'''''''''">
              <a:rPr lang="fr-FR" altLang="en-US" sz="1000" smtClean="0">
                <a:effectLst/>
              </a:rPr>
              <a:pPr/>
              <a:t>-2.0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67" name="Espace réservé du texte 2">
            <a:extLst>
              <a:ext uri="{FF2B5EF4-FFF2-40B4-BE49-F238E27FC236}">
                <a16:creationId xmlns:a16="http://schemas.microsoft.com/office/drawing/2014/main" id="{ABFC4DDF-C4B3-4DD2-B0B2-1DAB45D236BC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2366963" y="1030288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AF823E0-3896-4BEF-9A0A-D49CBBBBDB58}" type="datetime'0.''''''''''''5'''''''''">
              <a:rPr lang="fr-FR" altLang="en-US" sz="1000" smtClean="0">
                <a:solidFill>
                  <a:schemeClr val="bg1"/>
                </a:solidFill>
              </a:rPr>
              <a:pPr/>
              <a:t>0.5</a:t>
            </a:fld>
            <a:endParaRPr lang="fr-FR" sz="10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122" name="Espace réservé du texte 2">
            <a:extLst>
              <a:ext uri="{FF2B5EF4-FFF2-40B4-BE49-F238E27FC236}">
                <a16:creationId xmlns:a16="http://schemas.microsoft.com/office/drawing/2014/main" id="{EE182495-6975-4FEE-9D4C-171886E4EC82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8167688" y="3517900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02D0A21-B80F-4702-B3EB-E180560DD1F1}" type="datetime'2''''''''''''''''''.''''''''''1'">
              <a:rPr lang="fr-FR" altLang="en-US" sz="1000" smtClean="0"/>
              <a:pPr/>
              <a:t>2.1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71" name="Espace réservé du texte 2">
            <a:extLst>
              <a:ext uri="{FF2B5EF4-FFF2-40B4-BE49-F238E27FC236}">
                <a16:creationId xmlns:a16="http://schemas.microsoft.com/office/drawing/2014/main" id="{89E90AC5-EA49-47F7-B732-9E84FCDD4BA2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946150" y="5119689"/>
            <a:ext cx="152400" cy="639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4E8E4A4D-7AD5-48EB-805A-00A9224F8109}" type="datetime'C''''h''''''''''''''ur''''n'' ''2''0''''''''''1''8'''''''''''">
              <a:rPr lang="fr-FR" altLang="en-US" sz="1000" smtClean="0"/>
              <a:pPr/>
              <a:t>Churn 201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64" name="Espace réservé du texte 2">
            <a:extLst>
              <a:ext uri="{FF2B5EF4-FFF2-40B4-BE49-F238E27FC236}">
                <a16:creationId xmlns:a16="http://schemas.microsoft.com/office/drawing/2014/main" id="{8EF47CEE-CEB6-4087-B038-3BA7834EDD4D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1279525" y="1573213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C5C648B-28A2-426B-A494-4BBA64253177}" type="datetime'1''''.''''''''7'''">
              <a:rPr lang="fr-FR" altLang="en-US" sz="1000" smtClean="0"/>
              <a:pPr/>
              <a:t>1.7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73" name="Espace réservé du texte 2">
            <a:extLst>
              <a:ext uri="{FF2B5EF4-FFF2-40B4-BE49-F238E27FC236}">
                <a16:creationId xmlns:a16="http://schemas.microsoft.com/office/drawing/2014/main" id="{D1D17CF5-4598-473B-9D19-1366DB797309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1309688" y="5119688"/>
            <a:ext cx="152400" cy="82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92389746-A0D4-4D57-86D4-BD5C7C1CE139}" type="datetime'Ne''w'''''' ''l''og''''''o ''''''2''''''''0''''18'''''">
              <a:rPr lang="fr-FR" altLang="en-US" sz="1000" smtClean="0"/>
              <a:pPr/>
              <a:t>New logo 201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43" name="Espace réservé du texte 2">
            <a:extLst>
              <a:ext uri="{FF2B5EF4-FFF2-40B4-BE49-F238E27FC236}">
                <a16:creationId xmlns:a16="http://schemas.microsoft.com/office/drawing/2014/main" id="{AC177666-BF6C-4134-8D11-EC007C3E54E6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190501" y="850900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B057337-89C1-4A69-A61B-0691D8847D7F}" type="datetime'''''''''''''''8''''''''.''''''''''''''''''''''''''8'''''">
              <a:rPr lang="fr-FR" altLang="en-US" sz="1000" smtClean="0"/>
              <a:pPr/>
              <a:t>8.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39" name="Espace réservé du texte 2">
            <a:extLst>
              <a:ext uri="{FF2B5EF4-FFF2-40B4-BE49-F238E27FC236}">
                <a16:creationId xmlns:a16="http://schemas.microsoft.com/office/drawing/2014/main" id="{1888F5DB-0FE1-4F4F-84C6-4F0D46C8A880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4179889" y="58737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75A5C89-F240-4048-B149-9C52374C3FA9}" type="datetime'''''''9''''''''''''''''''''''.4'''''''''''''''''''''">
              <a:rPr lang="fr-FR" altLang="en-US" sz="1000" smtClean="0"/>
              <a:pPr/>
              <a:t>9.4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41" name="Espace réservé du texte 2">
            <a:extLst>
              <a:ext uri="{FF2B5EF4-FFF2-40B4-BE49-F238E27FC236}">
                <a16:creationId xmlns:a16="http://schemas.microsoft.com/office/drawing/2014/main" id="{6DDEC56A-606E-43B9-B9BC-64026E95D7F9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8167689" y="550863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BE2C91D-43B5-4AD9-9627-B0AB49FDF6BF}" type="datetime'9''''''.''''4'''''''''''''''''''''''">
              <a:rPr lang="fr-FR" altLang="en-US" sz="1000" smtClean="0"/>
              <a:pPr/>
              <a:t>9.4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23" name="Espace réservé du texte 2">
            <a:extLst>
              <a:ext uri="{FF2B5EF4-FFF2-40B4-BE49-F238E27FC236}">
                <a16:creationId xmlns:a16="http://schemas.microsoft.com/office/drawing/2014/main" id="{FA05FB5D-A95F-4D54-8ADD-94DEC6045C3D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8167688" y="2132013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3A68ED5-5DC1-49F1-9900-73660D91C864}" type="datetime'''''''''''''''''''''''''''''''''3''''''''.9'''''''''''">
              <a:rPr lang="fr-FR" altLang="en-US" sz="1000" smtClean="0"/>
              <a:pPr/>
              <a:t>3.9</a:t>
            </a:fld>
            <a:endParaRPr lang="fr-FR" sz="1000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70794833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F9AE5294-21FB-443B-AC9E-47D53F9097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5804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416" imgH="423" progId="TCLayout.ActiveDocument.1">
                  <p:embed/>
                </p:oleObj>
              </mc:Choice>
              <mc:Fallback>
                <p:oleObj name="think-cell Slide" r:id="rId52" imgW="416" imgH="423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F9AE5294-21FB-443B-AC9E-47D53F909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41" hidden="1">
            <a:extLst>
              <a:ext uri="{FF2B5EF4-FFF2-40B4-BE49-F238E27FC236}">
                <a16:creationId xmlns:a16="http://schemas.microsoft.com/office/drawing/2014/main" id="{1CDC1D26-5559-48E5-A3EA-95A60632EA3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fr-FR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latin typeface="Trebuchet MS" panose="020B0603020202020204" pitchFamily="34" charset="0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B7E987-01B8-492B-B78E-0EA088CC8C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&amp;B pro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CB9626-71CD-4BA3-B2F8-3277490C0D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458EA12-4C08-42D5-85F6-D0BBEC493261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7177088" y="1003300"/>
            <a:ext cx="3143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2064129-2E28-40C1-A365-3EAF8D692731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046663" y="942975"/>
            <a:ext cx="3159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1BC0B30-ED35-4001-A1D6-139AF8FB2FD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627438" y="779463"/>
            <a:ext cx="3143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E64383D-B260-4ED8-A534-94181DD7FFF2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337050" y="757238"/>
            <a:ext cx="3143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B88B253-97A1-48F6-AD5F-D88ADB388518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757863" y="865188"/>
            <a:ext cx="3143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053F143-8075-4B34-B8B8-C33571F2C88A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2208213" y="847725"/>
            <a:ext cx="3143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85DF3CB-9384-404E-AB5A-ABDC96776C30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498600" y="663575"/>
            <a:ext cx="3143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1267229-A759-41B5-B57C-85276F403621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6467475" y="865188"/>
            <a:ext cx="3143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E69C7FE-B306-4E03-8A12-629329FE6434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2917825" y="779463"/>
            <a:ext cx="3143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CC86932-1395-4059-86B8-87E19AB49B3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788988" y="733425"/>
            <a:ext cx="3143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60FA607-6CB1-4897-98EF-EBA7EAD6C283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7886700" y="1395413"/>
            <a:ext cx="3143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21D8B75-C883-4944-B136-358BD997DDA3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8596313" y="1277938"/>
            <a:ext cx="3143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32" name="Chart 131">
            <a:extLst>
              <a:ext uri="{FF2B5EF4-FFF2-40B4-BE49-F238E27FC236}">
                <a16:creationId xmlns:a16="http://schemas.microsoft.com/office/drawing/2014/main" id="{88850FBD-EB05-4601-B2E5-116BBC76B72F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56061912"/>
              </p:ext>
            </p:extLst>
          </p:nvPr>
        </p:nvGraphicFramePr>
        <p:xfrm>
          <a:off x="153988" y="581025"/>
          <a:ext cx="9391650" cy="4397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FF0B8F1-CA42-46B3-A1F6-72079A7B0D28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2009775" y="638175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4A70354-3411-4330-B0CB-7162769D8411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 flipV="1">
            <a:off x="2719388" y="814388"/>
            <a:ext cx="0" cy="5873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D50359F6-228C-411C-A49B-4FA415B15229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V="1">
            <a:off x="1300163" y="698500"/>
            <a:ext cx="0" cy="6032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C392ED1-FF98-4357-80E3-B092B35EC892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 flipV="1">
            <a:off x="6978650" y="935038"/>
            <a:ext cx="0" cy="9366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7AEE2A3D-8E34-47ED-A744-162D7F6FF665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 flipV="1">
            <a:off x="4138613" y="768350"/>
            <a:ext cx="0" cy="3651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2D9085D-E074-4287-9CB1-C0A337A374E8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4848225" y="731838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6AD1A1B-4041-4EFF-AF08-BEAC86A7C476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 flipV="1">
            <a:off x="5559425" y="904875"/>
            <a:ext cx="0" cy="635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5DAF424-2142-44D7-929C-3F9158F27E56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>
            <a:off x="7688263" y="977900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EC9B605C-27F3-4ECE-9C8E-8D5F8CB12AAB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 flipV="1">
            <a:off x="8397875" y="1336675"/>
            <a:ext cx="0" cy="8413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Espace réservé du texte 2">
            <a:extLst>
              <a:ext uri="{FF2B5EF4-FFF2-40B4-BE49-F238E27FC236}">
                <a16:creationId xmlns:a16="http://schemas.microsoft.com/office/drawing/2014/main" id="{97449C5F-EFB9-4A77-BB80-08ACD8569C4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96875" y="4954588"/>
            <a:ext cx="387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87CCC98-84C9-4038-BC4E-6EEEFCC70A2A}" type="datetime'''''''''2''''''''''0''''1''''''''''''''6'''''''''''">
              <a:rPr lang="fr-FR" altLang="en-US" smtClean="0"/>
              <a:pPr/>
              <a:t>2016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5" name="Espace réservé du texte 2">
            <a:extLst>
              <a:ext uri="{FF2B5EF4-FFF2-40B4-BE49-F238E27FC236}">
                <a16:creationId xmlns:a16="http://schemas.microsoft.com/office/drawing/2014/main" id="{4160291E-B783-4FDD-A513-8686062EE52E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794500" y="1028700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AF9B6DC-61CD-4DEE-AF42-F4B2D211C88A}" type="datetime'''''''-''''''''''''0''''.''''''''3'''''''''''">
              <a:rPr lang="fr-FR" altLang="en-US" smtClean="0"/>
              <a:pPr/>
              <a:t>-0.3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67" name="Espace réservé du texte 2">
            <a:extLst>
              <a:ext uri="{FF2B5EF4-FFF2-40B4-BE49-F238E27FC236}">
                <a16:creationId xmlns:a16="http://schemas.microsoft.com/office/drawing/2014/main" id="{3FD5BDCC-A5B7-4998-8DC7-4D6909231A15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149350" y="758825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A407DCB-D8F2-4645-8697-BA851CE86346}" type="datetime'''''0''''''.''2'''''''''''''''''''''''''''''''''''''''''''''">
              <a:rPr lang="fr-FR" altLang="en-US" smtClean="0"/>
              <a:pPr/>
              <a:t>0.2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68" name="Espace réservé du texte 2">
            <a:extLst>
              <a:ext uri="{FF2B5EF4-FFF2-40B4-BE49-F238E27FC236}">
                <a16:creationId xmlns:a16="http://schemas.microsoft.com/office/drawing/2014/main" id="{CED88030-701E-499A-A464-3C34C5228A3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825625" y="425450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BC6F2E3-D0B8-4FDD-840F-A3E5C0F41980}" type="datetime'-0''''''''''''''''''''''''''.5'">
              <a:rPr lang="fr-FR" altLang="en-US" smtClean="0"/>
              <a:pPr/>
              <a:t>-0.5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6" name="Espace réservé du texte 2">
            <a:extLst>
              <a:ext uri="{FF2B5EF4-FFF2-40B4-BE49-F238E27FC236}">
                <a16:creationId xmlns:a16="http://schemas.microsoft.com/office/drawing/2014/main" id="{33094E6A-D62C-4FB5-AA4B-9A8F898CA1E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06488" y="4954588"/>
            <a:ext cx="3873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468B20D-88C0-4053-9A2A-7F8B6F73493F}" type="datetime'L''''''''''''FL ''2''''''''''''''01''6'''''''''">
              <a:rPr lang="fr-FR" altLang="en-US" smtClean="0"/>
              <a:pPr/>
              <a:t>LFL 2016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65" name="Espace réservé du texte 2">
            <a:extLst>
              <a:ext uri="{FF2B5EF4-FFF2-40B4-BE49-F238E27FC236}">
                <a16:creationId xmlns:a16="http://schemas.microsoft.com/office/drawing/2014/main" id="{5C34D846-5CB4-44D6-A90D-D126F6A1505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92113" y="495300"/>
            <a:ext cx="396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83AFD14-C094-430A-8385-802A4BAF560E}" type="datetime'''''''''1''''''0.''''''''''''''''4'''''''''''''''''''''''">
              <a:rPr lang="fr-FR" altLang="en-US" smtClean="0"/>
              <a:pPr/>
              <a:t>10.4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2" name="Espace réservé du texte 2">
            <a:extLst>
              <a:ext uri="{FF2B5EF4-FFF2-40B4-BE49-F238E27FC236}">
                <a16:creationId xmlns:a16="http://schemas.microsoft.com/office/drawing/2014/main" id="{4DE26C2D-BCED-4E76-91EF-6BA80281921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608513" y="4954588"/>
            <a:ext cx="4794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5B69C93-869B-4F37-9DDC-11F75D64BB70}" type="datetime'''''''C''h''urn'''''''''''''''''''''' ''''2''0''1''8'''''''''">
              <a:rPr lang="fr-FR" altLang="en-US" smtClean="0"/>
              <a:pPr/>
              <a:t>Churn 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41" name="Espace réservé du texte 2">
            <a:extLst>
              <a:ext uri="{FF2B5EF4-FFF2-40B4-BE49-F238E27FC236}">
                <a16:creationId xmlns:a16="http://schemas.microsoft.com/office/drawing/2014/main" id="{C152E67D-402B-4387-8DB5-DF4CAE9F853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448550" y="4954588"/>
            <a:ext cx="4794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1490B19-B5CC-4145-9139-788DB18DFA5B}" type="datetime'''''''''''C''''''h''''''''u''''rn ''''''''''''2''0''19'''''''">
              <a:rPr lang="fr-FR" altLang="en-US" smtClean="0"/>
              <a:pPr/>
              <a:t>Churn 201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08514D1F-E741-4343-B2BB-920A0046EF8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784975" y="4954588"/>
            <a:ext cx="3873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581B465-7ABF-4B8B-8DA4-8706708794E6}" type="datetime'''''''L''''''F''''''''''''''''''''''''L ''2''0''18'''''''''">
              <a:rPr lang="fr-FR" altLang="en-US" smtClean="0"/>
              <a:pPr/>
              <a:t>LFL 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6" name="Espace réservé du texte 2">
            <a:extLst>
              <a:ext uri="{FF2B5EF4-FFF2-40B4-BE49-F238E27FC236}">
                <a16:creationId xmlns:a16="http://schemas.microsoft.com/office/drawing/2014/main" id="{644F69EF-A319-4637-8C83-7C1750CEDA2E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504113" y="765175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A4E48B4-2B6E-44B6-BE5A-0B2599FEAF12}" type="datetime'''''''''''''''-''1''''''''''''''''''''''.''''''''''''0'''">
              <a:rPr lang="fr-FR" altLang="en-US" smtClean="0"/>
              <a:pPr/>
              <a:t>-1.0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3" name="Espace réservé du texte 2">
            <a:extLst>
              <a:ext uri="{FF2B5EF4-FFF2-40B4-BE49-F238E27FC236}">
                <a16:creationId xmlns:a16="http://schemas.microsoft.com/office/drawing/2014/main" id="{84E3CE5E-D6F1-44D8-A0DB-1B49B448B06F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408613" y="968375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8FFF9F7-9FAD-42DD-B3BA-49F5000EC213}" type="datetime'''''''0''''''.''''2'''''''''''''''''''''''''''''''''''''''''''">
              <a:rPr lang="fr-FR" altLang="en-US" smtClean="0"/>
              <a:pPr/>
              <a:t>0.2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7" name="Espace réservé du texte 2">
            <a:extLst>
              <a:ext uri="{FF2B5EF4-FFF2-40B4-BE49-F238E27FC236}">
                <a16:creationId xmlns:a16="http://schemas.microsoft.com/office/drawing/2014/main" id="{0D8561B6-7236-4464-86AB-9E5F521CC4E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247063" y="1420813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B9E0A30-3614-4CBB-A40F-CED9A6D3EAB8}" type="datetime'''''''''0''''''''''''''''''''''''''.3'''''''''''''''''''''''">
              <a:rPr lang="fr-FR" altLang="en-US" smtClean="0"/>
              <a:pPr/>
              <a:t>0.3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40" name="Espace réservé du texte 2">
            <a:extLst>
              <a:ext uri="{FF2B5EF4-FFF2-40B4-BE49-F238E27FC236}">
                <a16:creationId xmlns:a16="http://schemas.microsoft.com/office/drawing/2014/main" id="{39A82838-48B4-4A6D-BE00-031201B45A51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8064500" y="4954588"/>
            <a:ext cx="6667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EA05FA4-A7BB-44D1-B500-C086D58C206C}" type="datetime'Ne''w'''''' b''''''u''s''i''ness'' ''''''2''0''''''''''''''19'">
              <a:rPr lang="fr-FR" altLang="en-US" smtClean="0"/>
              <a:pPr/>
              <a:t>New business 2019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2" name="Espace réservé du texte 2">
            <a:extLst>
              <a:ext uri="{FF2B5EF4-FFF2-40B4-BE49-F238E27FC236}">
                <a16:creationId xmlns:a16="http://schemas.microsoft.com/office/drawing/2014/main" id="{6A5EF5DD-3BAC-4E5E-B000-376F8E699F7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664075" y="519113"/>
            <a:ext cx="36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5B61D63-C833-4529-AACA-7FA63B13ECBF}" type="datetime'''''''-0''''''''''''''.''''5'''''''''''''''''''''''''''">
              <a:rPr lang="fr-FR" altLang="en-US" smtClean="0"/>
              <a:pPr/>
              <a:t>-0.5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3" name="Espace réservé du texte 2">
            <a:extLst>
              <a:ext uri="{FF2B5EF4-FFF2-40B4-BE49-F238E27FC236}">
                <a16:creationId xmlns:a16="http://schemas.microsoft.com/office/drawing/2014/main" id="{FB71B4E2-CD7D-4ED9-B59C-1DAEEF4D752B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226050" y="4954588"/>
            <a:ext cx="6667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31DE01A-EA77-4C4B-B29B-0C3688979051}" type="datetime'New'' ''''''''bu''''''s''ine''''''''''''''s''s'' 2''''''0''18'">
              <a:rPr lang="fr-FR" altLang="en-US" smtClean="0"/>
              <a:pPr/>
              <a:t>New business 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71" name="Espace réservé du texte 2">
            <a:extLst>
              <a:ext uri="{FF2B5EF4-FFF2-40B4-BE49-F238E27FC236}">
                <a16:creationId xmlns:a16="http://schemas.microsoft.com/office/drawing/2014/main" id="{B8734C2E-BE04-4B3A-BAA9-6C1D8581526B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3987800" y="804863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4FE7F7E-D14E-42B6-8023-A212DF9DDD7D}" type="datetime'''''''''0''''''''.''''''''''1'''''''">
              <a:rPr lang="fr-FR" altLang="en-US" smtClean="0"/>
              <a:pPr/>
              <a:t>0.1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5" name="Espace réservé du texte 2">
            <a:extLst>
              <a:ext uri="{FF2B5EF4-FFF2-40B4-BE49-F238E27FC236}">
                <a16:creationId xmlns:a16="http://schemas.microsoft.com/office/drawing/2014/main" id="{00714E26-EC36-4A85-960D-3EDA17D5A276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3235325" y="4954588"/>
            <a:ext cx="387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BE63372-DC66-4AD1-9AE1-BB985AA381C2}" type="datetime'2''''''''''0''''''''''1''''''7'''''''''''''''''''''''''''''''">
              <a:rPr lang="fr-FR" altLang="en-US" smtClean="0"/>
              <a:pPr/>
              <a:t>2017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85D2B09C-7410-4FEA-B6D7-C4A5A091ADA8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2386013" y="4954588"/>
            <a:ext cx="6667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82EF030-658B-466E-AE8D-CFDA0A4E3582}" type="datetime'''''''N''e''''w b''u''''s''ine''''''''''''''s''''''s ''201''7'">
              <a:rPr lang="fr-FR" altLang="en-US" smtClean="0"/>
              <a:pPr/>
              <a:t>New business 2017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7" name="Espace réservé du texte 2">
            <a:extLst>
              <a:ext uri="{FF2B5EF4-FFF2-40B4-BE49-F238E27FC236}">
                <a16:creationId xmlns:a16="http://schemas.microsoft.com/office/drawing/2014/main" id="{2120A82C-648E-40A2-A75A-D6C8537E9C9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3944938" y="4954588"/>
            <a:ext cx="3873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91E4460-E49A-47CC-A315-732D4D87B22C}" type="datetime'''L''''''''''FL ''''''20''''''''1''''7'''''''''''''''''">
              <a:rPr lang="fr-FR" altLang="en-US" smtClean="0"/>
              <a:pPr/>
              <a:t>LFL 2017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1" name="Espace réservé du texte 2">
            <a:extLst>
              <a:ext uri="{FF2B5EF4-FFF2-40B4-BE49-F238E27FC236}">
                <a16:creationId xmlns:a16="http://schemas.microsoft.com/office/drawing/2014/main" id="{2EFB888C-24EA-4799-91EC-4D24BB2A552B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075363" y="4954588"/>
            <a:ext cx="387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3039D07-0430-4ACB-B965-2C046BE17FA7}" type="datetime'''''''''''''20''''''''''''''''18'''''''''''''''''''''''''''''">
              <a:rPr lang="fr-FR" altLang="en-US" smtClean="0"/>
              <a:pPr/>
              <a:t>2018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69" name="Espace réservé du texte 2">
            <a:extLst>
              <a:ext uri="{FF2B5EF4-FFF2-40B4-BE49-F238E27FC236}">
                <a16:creationId xmlns:a16="http://schemas.microsoft.com/office/drawing/2014/main" id="{2B45617E-18DB-4E4A-81BE-72286154FCC1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2568575" y="873125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389E5D7-3724-418D-94FF-C60ECD40188E}" type="datetime'''''''0''''''''''''''''''.''''2'''''''''''''''''">
              <a:rPr lang="fr-FR" altLang="en-US" smtClean="0"/>
              <a:pPr/>
              <a:t>0.2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FED6F1E6-6643-4D4B-9413-16622D2E3CE2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1770063" y="4954588"/>
            <a:ext cx="4794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A2B9145-3134-40AC-8F49-A2470FDD48A0}" type="datetime'C''''''''''''''''''''''h''''''''''u''''''''r''''''n ''201''7'">
              <a:rPr lang="fr-FR" altLang="en-US" smtClean="0"/>
              <a:pPr/>
              <a:t>Churn 2017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22" name="Espace réservé du texte 2">
            <a:extLst>
              <a:ext uri="{FF2B5EF4-FFF2-40B4-BE49-F238E27FC236}">
                <a16:creationId xmlns:a16="http://schemas.microsoft.com/office/drawing/2014/main" id="{992482D8-4D57-4136-A45A-890CC97F13E6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3230563" y="541338"/>
            <a:ext cx="396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284BBCE-42C6-4C46-83B6-97413A36E038}" type="datetime'1''''''''''''''''0''''''.''''3'">
              <a:rPr lang="fr-FR" altLang="en-US" smtClean="0">
                <a:latin typeface="+mn-lt"/>
                <a:sym typeface="+mn-lt"/>
              </a:rPr>
              <a:pPr/>
              <a:t>10.3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24" name="Espace réservé du texte 2">
            <a:extLst>
              <a:ext uri="{FF2B5EF4-FFF2-40B4-BE49-F238E27FC236}">
                <a16:creationId xmlns:a16="http://schemas.microsoft.com/office/drawing/2014/main" id="{364E3454-ABCD-4FAF-9EAE-97AA00445D30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6070600" y="627063"/>
            <a:ext cx="396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44EFE20-CDD9-4BF4-94DD-AD96DA8A3CF8}" type="datetime'1''''''''0.''''''''''''''''''''''''''''''''''''1'">
              <a:rPr lang="fr-FR" altLang="en-US" smtClean="0">
                <a:latin typeface="+mn-lt"/>
                <a:sym typeface="+mn-lt"/>
              </a:rPr>
              <a:pPr/>
              <a:t>10.1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126" name="Espace réservé du texte 2">
            <a:extLst>
              <a:ext uri="{FF2B5EF4-FFF2-40B4-BE49-F238E27FC236}">
                <a16:creationId xmlns:a16="http://schemas.microsoft.com/office/drawing/2014/main" id="{D5241E18-DA0D-4A47-9B84-E8F90D8AE33A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8956675" y="1039813"/>
            <a:ext cx="303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55BA47E-C8A1-4759-8CDA-D4E13C0CED40}" type="datetime'''''''9''''.''''''1'''''''''''''''''''''">
              <a:rPr lang="fr-FR" altLang="en-US" smtClean="0">
                <a:latin typeface="+mn-lt"/>
                <a:sym typeface="+mn-lt"/>
              </a:rPr>
              <a:pPr/>
              <a:t>9.1</a:t>
            </a:fld>
            <a:endParaRPr lang="fr-FR" dirty="0">
              <a:latin typeface="+mn-lt"/>
              <a:sym typeface="+mn-lt"/>
            </a:endParaRPr>
          </a:p>
        </p:txBody>
      </p:sp>
      <p:sp>
        <p:nvSpPr>
          <p:cNvPr id="30" name="Espace réservé du texte 2">
            <a:extLst>
              <a:ext uri="{FF2B5EF4-FFF2-40B4-BE49-F238E27FC236}">
                <a16:creationId xmlns:a16="http://schemas.microsoft.com/office/drawing/2014/main" id="{61CB25F0-5394-4BD8-92E6-16389BDD1EA6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8913813" y="4954588"/>
            <a:ext cx="387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92DAABD-2471-4E01-B22E-1EF3011B608A}" type="datetime'''2''''''''''''''''''''''''''''''0''''''''''''''''1''9'''''''">
              <a:rPr lang="fr-FR" altLang="en-US" smtClean="0"/>
              <a:pPr/>
              <a:t>2019</a:t>
            </a:fld>
            <a:endParaRPr lang="fr-FR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72843785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08690BD-9494-496C-A56C-12FDCA69AC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7689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16" imgH="423" progId="TCLayout.ActiveDocument.1">
                  <p:embed/>
                </p:oleObj>
              </mc:Choice>
              <mc:Fallback>
                <p:oleObj name="think-cell Slide" r:id="rId35" imgW="416" imgH="42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08690BD-9494-496C-A56C-12FDCA69AC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149B75-29E2-4A32-B447-52C1973EDED0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fr-FR" sz="800" b="1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latin typeface="Trebuchet MS" panose="020B0603020202020204" pitchFamily="34" charset="0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4942BC8-F7FC-49E9-B296-00C71A2F51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graphicFrame>
        <p:nvGraphicFramePr>
          <p:cNvPr id="147" name="Chart 146">
            <a:extLst>
              <a:ext uri="{FF2B5EF4-FFF2-40B4-BE49-F238E27FC236}">
                <a16:creationId xmlns:a16="http://schemas.microsoft.com/office/drawing/2014/main" id="{F3A60FFC-2AF2-4EF4-B110-09BA94B7C99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69143375"/>
              </p:ext>
            </p:extLst>
          </p:nvPr>
        </p:nvGraphicFramePr>
        <p:xfrm>
          <a:off x="311150" y="1905000"/>
          <a:ext cx="4300538" cy="2455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4A55795F-D62D-4477-9539-82C28D7342E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622300" y="1331913"/>
            <a:ext cx="1379538" cy="280988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21F2F5BF-3771-483E-8D82-70890A49898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2001838" y="1800225"/>
            <a:ext cx="0" cy="2524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CCA631A9-EBE4-4A26-8A9C-141C022FFF04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2001838" y="1800225"/>
            <a:ext cx="42068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B290A3BD-3963-4B7E-92DD-9A40BD16897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2422525" y="1800225"/>
            <a:ext cx="0" cy="2397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FB66F5B6-FEBB-4558-8E36-6FA0131C39A3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2498725" y="1789113"/>
            <a:ext cx="0" cy="25082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9F69BC4B-2350-4C37-9B91-5ACC1BCC5EBE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2498726" y="1789113"/>
            <a:ext cx="42227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0FC3E430-2D11-4503-8A56-046FC19B3A4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2921000" y="1789113"/>
            <a:ext cx="0" cy="2397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E547190D-30A4-433B-BDA8-6D4B2FF9D2F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2001839" y="1457325"/>
            <a:ext cx="2297113" cy="155575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00" name="Espace réservé du texte 2">
            <a:extLst>
              <a:ext uri="{FF2B5EF4-FFF2-40B4-BE49-F238E27FC236}">
                <a16:creationId xmlns:a16="http://schemas.microsoft.com/office/drawing/2014/main" id="{BD03CE83-5B80-4222-9DF4-8B8CDD6253F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862138" y="2090738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BF6C14D-51C5-4C35-8146-609DCFB2C2FC}" type="datetime'''''3''''''''''''''''''''''''0.6'''''''''''''''''''''">
              <a:rPr lang="fr-FR" altLang="en-US" sz="1000" smtClean="0">
                <a:effectLst/>
                <a:latin typeface="+mn-lt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30.6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FDD0A22E-D044-4738-A846-D69DD4EC1C7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320925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B7B7909-9B8B-4310-9085-E21499BFCA43}" type="datetime'''2''''''''0''''''''''''''21'''''''''''''">
              <a:rPr lang="fr-FR" altLang="en-US" sz="1000" smtClean="0">
                <a:latin typeface="+mn-lt"/>
                <a:sym typeface="+mn-lt"/>
              </a:rPr>
              <a:pPr/>
              <a:t>2021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24DBBEC1-2EBC-4025-BAED-993C2FA9EB1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401763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D6FE64A-A691-4C87-8136-D99646A4A2DA}" type="datetime'''''''''2''''''''''''''''''0''''''1''''''9'''''''''''">
              <a:rPr lang="fr-FR" altLang="en-US" sz="1000" smtClean="0">
                <a:latin typeface="+mn-lt"/>
                <a:sym typeface="+mn-lt"/>
              </a:rPr>
              <a:pPr/>
              <a:t>201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20ABFB18-92B3-4581-849D-D6C5F42002D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82600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D2797A6-7E92-4661-88C9-7B8BB5C872F7}" type="datetime'''2''''''''''0''''''''17'''''''''''''''''">
              <a:rPr lang="fr-FR" altLang="en-US" sz="1000" smtClean="0">
                <a:latin typeface="+mn-lt"/>
                <a:sym typeface="+mn-lt"/>
              </a:rPr>
              <a:pPr/>
              <a:t>2017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8FD9938C-F978-46AE-BB3A-EDEDFF7FD70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42975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59BBFB1-7FFF-4605-926A-C89B2D21CC56}" type="datetime'''''''''''''''''''''''''''2''''''0''''''18'''''''''''''''">
              <a:rPr lang="fr-FR" altLang="en-US" sz="1000" smtClean="0">
                <a:latin typeface="+mn-lt"/>
                <a:sym typeface="+mn-lt"/>
              </a:rPr>
              <a:pPr/>
              <a:t>201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A9A0C130-CA17-448C-B406-947373E7697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862138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F5D9284-4ED2-45E4-8D27-96A0FB0EC0E5}" type="datetime'''''''''''2''''''0''''''2''''''''0'''''''''''''''">
              <a:rPr lang="fr-FR" altLang="en-US" sz="1000" smtClean="0">
                <a:latin typeface="+mn-lt"/>
                <a:sym typeface="+mn-lt"/>
              </a:rPr>
              <a:pPr/>
              <a:t>2020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5656A40E-94D2-4D19-9FCB-B644FC3F1A5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781300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FCED9CF-7853-4E0A-A6AA-86982676BB20}" type="datetime'''2''''''''''''''''''''0''''''''''''''''''2''2'''''''''">
              <a:rPr lang="fr-FR" altLang="en-US" sz="1000" smtClean="0">
                <a:latin typeface="+mn-lt"/>
                <a:sym typeface="+mn-lt"/>
              </a:rPr>
              <a:pPr/>
              <a:t>2022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7" name="Espace réservé du texte 2">
            <a:extLst>
              <a:ext uri="{FF2B5EF4-FFF2-40B4-BE49-F238E27FC236}">
                <a16:creationId xmlns:a16="http://schemas.microsoft.com/office/drawing/2014/main" id="{6D559518-E8C1-46B8-9B52-9036FEE0B55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700463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3D46F5B-6E1E-4780-ABE9-AA68649CC542}" type="datetime'2''''0''''''''''''''''''''''''''24'''''''''''">
              <a:rPr lang="fr-FR" altLang="en-US" sz="1000" smtClean="0">
                <a:latin typeface="+mn-lt"/>
                <a:sym typeface="+mn-lt"/>
              </a:rPr>
              <a:pPr/>
              <a:t>2024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46B3103C-B011-4050-9308-7682C2786A9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240088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CCB1818-59F8-4B8F-B15B-27A57DDF5B6A}" type="datetime'''''''''2''''''''''''''''''''''''''''''0''''''23'">
              <a:rPr lang="fr-FR" altLang="en-US" sz="1000" smtClean="0">
                <a:latin typeface="+mn-lt"/>
                <a:sym typeface="+mn-lt"/>
              </a:rPr>
              <a:pPr/>
              <a:t>2023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96" name="Espace réservé du texte 2">
            <a:extLst>
              <a:ext uri="{FF2B5EF4-FFF2-40B4-BE49-F238E27FC236}">
                <a16:creationId xmlns:a16="http://schemas.microsoft.com/office/drawing/2014/main" id="{96ACD372-FEF3-47D1-B300-A297F400E38C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82600" y="1809750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DD49C3E-2BD6-4259-A031-37F3C0F02A8B}" type="datetime'3''''4''''''''''''''''''''''''''''''''''''''''.''''''''9'''">
              <a:rPr lang="fr-FR" altLang="en-US" sz="1000" smtClean="0">
                <a:latin typeface="+mn-lt"/>
                <a:sym typeface="+mn-lt"/>
              </a:rPr>
              <a:pPr/>
              <a:t>34.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8" name="Espace réservé du texte 2">
            <a:extLst>
              <a:ext uri="{FF2B5EF4-FFF2-40B4-BE49-F238E27FC236}">
                <a16:creationId xmlns:a16="http://schemas.microsoft.com/office/drawing/2014/main" id="{8C66A17F-8A18-4E0C-B25E-892F3E969D94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159250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C7F6E70-20F3-4D0E-9E21-94EA963F4DD9}" type="datetime'''''''''''2''''''0''''''''''''''''''''2''''''''''''5'''">
              <a:rPr lang="fr-FR" altLang="en-US" sz="1000" smtClean="0">
                <a:latin typeface="+mn-lt"/>
                <a:sym typeface="+mn-lt"/>
              </a:rPr>
              <a:pPr/>
              <a:t>2025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98" name="Espace réservé du texte 2">
            <a:extLst>
              <a:ext uri="{FF2B5EF4-FFF2-40B4-BE49-F238E27FC236}">
                <a16:creationId xmlns:a16="http://schemas.microsoft.com/office/drawing/2014/main" id="{1DE28F63-AB22-4CC0-A2FB-42770F0DA4C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42975" y="1884363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04146AA-25E6-40FD-BE41-C409165E13F5}" type="datetime'''''''''''''''3''3''''.''''''''''''''8'''">
              <a:rPr lang="fr-FR" altLang="en-US" sz="1000" smtClean="0">
                <a:effectLst/>
                <a:latin typeface="+mn-lt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33.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99" name="Espace réservé du texte 2">
            <a:extLst>
              <a:ext uri="{FF2B5EF4-FFF2-40B4-BE49-F238E27FC236}">
                <a16:creationId xmlns:a16="http://schemas.microsoft.com/office/drawing/2014/main" id="{B7012B39-405B-48CB-AB07-FC31E3EAF9A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401763" y="1987550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E5DC7E6-139C-48DB-89CE-E7C4C898D3C7}" type="datetime'''''''''''3''''''''''2''''''''''''''''''''''.2'''">
              <a:rPr lang="fr-FR" altLang="en-US" sz="1000" smtClean="0">
                <a:effectLst/>
                <a:latin typeface="+mn-lt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32.2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1" name="Espace réservé du texte 2">
            <a:extLst>
              <a:ext uri="{FF2B5EF4-FFF2-40B4-BE49-F238E27FC236}">
                <a16:creationId xmlns:a16="http://schemas.microsoft.com/office/drawing/2014/main" id="{DE44398E-CA7D-423C-B470-AEEC17B9CEF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320925" y="2078038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8A28295-3E63-4BD0-BC3B-90EC2089287B}" type="datetime'''''''''''''''''''''''''''3''''''''0.''''8'">
              <a:rPr lang="fr-FR" altLang="en-US" sz="1000" smtClean="0">
                <a:effectLst/>
                <a:latin typeface="+mn-lt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30.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2" name="Espace réservé du texte 2">
            <a:extLst>
              <a:ext uri="{FF2B5EF4-FFF2-40B4-BE49-F238E27FC236}">
                <a16:creationId xmlns:a16="http://schemas.microsoft.com/office/drawing/2014/main" id="{41BAEDB9-ABF1-40DF-B0EE-8DAE21411DCE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781300" y="2066925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ECD6B69-248F-42AA-9CB7-8CED4CD91462}" type="datetime'''''''''''''''''3''''''''''''''''''''''''''1''''''''''.0'''">
              <a:rPr lang="fr-FR" altLang="en-US" sz="1000" smtClean="0">
                <a:effectLst/>
                <a:latin typeface="+mn-lt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31.0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3" name="Espace réservé du texte 2">
            <a:extLst>
              <a:ext uri="{FF2B5EF4-FFF2-40B4-BE49-F238E27FC236}">
                <a16:creationId xmlns:a16="http://schemas.microsoft.com/office/drawing/2014/main" id="{19BD0584-735D-43A7-B72F-9CD40765384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240088" y="2033588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90AAD41-BDFE-439F-B5CC-8AD168DCB97C}" type="datetime'''''''''3''1''''''''''''''''''''''''.''''5'''''''''''''''''''">
              <a:rPr lang="fr-FR" altLang="en-US" sz="1000" smtClean="0">
                <a:effectLst/>
                <a:latin typeface="+mn-lt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31.5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4" name="Espace réservé du texte 2">
            <a:extLst>
              <a:ext uri="{FF2B5EF4-FFF2-40B4-BE49-F238E27FC236}">
                <a16:creationId xmlns:a16="http://schemas.microsoft.com/office/drawing/2014/main" id="{ACB2F137-2C20-476F-8A5F-CB5C1DB3BAB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700463" y="1989138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B99FF24-71CD-4CD4-84EA-81D443647BAD}" type="datetime'''''''''''''''''''''''3''''''''''2''''''''''''''''.''''2'">
              <a:rPr lang="fr-FR" altLang="en-US" sz="1000" smtClean="0">
                <a:effectLst/>
                <a:latin typeface="+mn-lt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32.2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5" name="Espace réservé du texte 2">
            <a:extLst>
              <a:ext uri="{FF2B5EF4-FFF2-40B4-BE49-F238E27FC236}">
                <a16:creationId xmlns:a16="http://schemas.microsoft.com/office/drawing/2014/main" id="{F05CE6D0-53F8-4866-BBE8-08E714873ED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159250" y="1935163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1E70587-49FA-4170-9988-CD4B85997C59}" type="datetime'3''3''''''''''''''''''''''''''''''''.''0'''''''''">
              <a:rPr lang="fr-FR" altLang="en-US" sz="1000" smtClean="0">
                <a:effectLst/>
                <a:latin typeface="+mn-lt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33.0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83" name="Espace réservé du texte 2">
            <a:extLst>
              <a:ext uri="{FF2B5EF4-FFF2-40B4-BE49-F238E27FC236}">
                <a16:creationId xmlns:a16="http://schemas.microsoft.com/office/drawing/2014/main" id="{B88B1108-0092-4AF0-9274-78C36552DF3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122364" y="1385888"/>
            <a:ext cx="377825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1A8D455-F56E-4DF4-A69D-370BF999A395}" type="datetime'''''''''''''''''''''''''-4.''''3''''''''''''''''''''''''''%'">
              <a:rPr lang="fr-FR" altLang="en-US" sz="800" b="1" smtClean="0">
                <a:effectLst/>
                <a:latin typeface="+mn-lt"/>
                <a:sym typeface="+mn-lt"/>
              </a:rPr>
              <a:pPr/>
              <a:t>-4.3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120" name="Espace réservé du texte 2">
            <a:extLst>
              <a:ext uri="{FF2B5EF4-FFF2-40B4-BE49-F238E27FC236}">
                <a16:creationId xmlns:a16="http://schemas.microsoft.com/office/drawing/2014/main" id="{ACC55E45-D91A-4E5A-B55D-CC1C31EE388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006600" y="1714500"/>
            <a:ext cx="409575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74CA775-D51C-40E6-8F17-97A6EB338DE1}" type="datetime'''''''''+''0''''''''''''''''''''''.7''''''''''%'''''''">
              <a:rPr lang="fr-FR" altLang="en-US" sz="800" b="1" smtClean="0">
                <a:effectLst/>
              </a:rPr>
              <a:pPr/>
              <a:t>+0.7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125" name="Espace réservé du texte 2">
            <a:extLst>
              <a:ext uri="{FF2B5EF4-FFF2-40B4-BE49-F238E27FC236}">
                <a16:creationId xmlns:a16="http://schemas.microsoft.com/office/drawing/2014/main" id="{D4489E23-9F70-4A58-BC89-401B9D993A8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505075" y="1703388"/>
            <a:ext cx="409575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4A4B39B-11D7-45D7-95DB-6FDF5EB49C3D}" type="datetime'+''''''''''''0''''.''''''''''5''''''''''''''''%'''">
              <a:rPr lang="fr-FR" altLang="en-US" sz="800" b="1" smtClean="0">
                <a:effectLst/>
              </a:rPr>
              <a:pPr/>
              <a:t>+0.5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93" name="Espace réservé du texte 2">
            <a:extLst>
              <a:ext uri="{FF2B5EF4-FFF2-40B4-BE49-F238E27FC236}">
                <a16:creationId xmlns:a16="http://schemas.microsoft.com/office/drawing/2014/main" id="{C7A85204-D779-4BC9-8681-F532B631821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944813" y="1449388"/>
            <a:ext cx="409575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A195290-69CB-415A-A7A0-C4DA210DB063}" type="datetime'''''''''''''''+''1''''''.''''5''''''''''''''''%'''''''''''''">
              <a:rPr lang="fr-FR" altLang="en-US" sz="800" b="1" smtClean="0">
                <a:effectLst/>
                <a:latin typeface="+mn-lt"/>
                <a:sym typeface="+mn-lt"/>
              </a:rPr>
              <a:pPr/>
              <a:t>+1.5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FF45CDC5-AEFC-4177-BDED-9F577489C7DE}"/>
              </a:ext>
            </a:extLst>
          </p:cNvPr>
          <p:cNvSpPr/>
          <p:nvPr/>
        </p:nvSpPr>
        <p:spPr bwMode="auto">
          <a:xfrm>
            <a:off x="4592637" y="1522004"/>
            <a:ext cx="4175725" cy="33293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48" name="Title 1">
            <a:extLst>
              <a:ext uri="{FF2B5EF4-FFF2-40B4-BE49-F238E27FC236}">
                <a16:creationId xmlns:a16="http://schemas.microsoft.com/office/drawing/2014/main" id="{166C2580-7BC9-484F-8D0C-7A9FD06E5F01}"/>
              </a:ext>
            </a:extLst>
          </p:cNvPr>
          <p:cNvSpPr txBox="1">
            <a:spLocks/>
          </p:cNvSpPr>
          <p:nvPr/>
        </p:nvSpPr>
        <p:spPr>
          <a:xfrm>
            <a:off x="167780" y="147600"/>
            <a:ext cx="9537820" cy="25721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9pPr>
          </a:lstStyle>
          <a:p>
            <a:r>
              <a:rPr lang="fr-FR" kern="0" dirty="0"/>
              <a:t>Risk FR</a:t>
            </a:r>
          </a:p>
          <a:p>
            <a:endParaRPr lang="fr-FR" kern="0" dirty="0"/>
          </a:p>
        </p:txBody>
      </p:sp>
    </p:spTree>
    <p:extLst>
      <p:ext uri="{BB962C8B-B14F-4D97-AF65-F5344CB8AC3E}">
        <p14:creationId xmlns:p14="http://schemas.microsoft.com/office/powerpoint/2010/main" val="2951004223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08690BD-9494-496C-A56C-12FDCA69AC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1730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16" imgH="423" progId="TCLayout.ActiveDocument.1">
                  <p:embed/>
                </p:oleObj>
              </mc:Choice>
              <mc:Fallback>
                <p:oleObj name="think-cell Slide" r:id="rId35" imgW="416" imgH="42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08690BD-9494-496C-A56C-12FDCA69AC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149B75-29E2-4A32-B447-52C1973EDED0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fr-FR" sz="800" b="1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latin typeface="Trebuchet MS" panose="020B0603020202020204" pitchFamily="34" charset="0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FF45CDC5-AEFC-4177-BDED-9F577489C7DE}"/>
              </a:ext>
            </a:extLst>
          </p:cNvPr>
          <p:cNvSpPr/>
          <p:nvPr/>
        </p:nvSpPr>
        <p:spPr bwMode="auto">
          <a:xfrm>
            <a:off x="6359011" y="1264429"/>
            <a:ext cx="4175725" cy="3329396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4942BC8-F7FC-49E9-B296-00C71A2F51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graphicFrame>
        <p:nvGraphicFramePr>
          <p:cNvPr id="60" name="Chart 59">
            <a:extLst>
              <a:ext uri="{FF2B5EF4-FFF2-40B4-BE49-F238E27FC236}">
                <a16:creationId xmlns:a16="http://schemas.microsoft.com/office/drawing/2014/main" id="{5D1622A0-1F53-4A71-87C1-678C04DD78C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16487583"/>
              </p:ext>
            </p:extLst>
          </p:nvPr>
        </p:nvGraphicFramePr>
        <p:xfrm>
          <a:off x="311150" y="1930400"/>
          <a:ext cx="4175125" cy="2430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4A55795F-D62D-4477-9539-82C28D7342E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615950" y="1333500"/>
            <a:ext cx="1336675" cy="32385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B290A3BD-3963-4B7E-92DD-9A40BD16897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360613" y="1844675"/>
            <a:ext cx="0" cy="2397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CCA631A9-EBE4-4A26-8A9C-141C022FFF04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952625" y="1844675"/>
            <a:ext cx="40798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21F2F5BF-3771-483E-8D82-70890A498989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1952625" y="1844675"/>
            <a:ext cx="0" cy="27622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FB66F5B6-FEBB-4558-8E36-6FA0131C39A3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2436813" y="1809750"/>
            <a:ext cx="0" cy="27463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9F69BC4B-2350-4C37-9B91-5ACC1BCC5EBE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2436813" y="1809750"/>
            <a:ext cx="4064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0FC3E430-2D11-4503-8A56-046FC19B3A4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2843213" y="1809750"/>
            <a:ext cx="0" cy="2397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E547190D-30A4-433B-BDA8-6D4B2FF9D2F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1952626" y="1360488"/>
            <a:ext cx="2227263" cy="296863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05" name="Espace réservé du texte 2">
            <a:extLst>
              <a:ext uri="{FF2B5EF4-FFF2-40B4-BE49-F238E27FC236}">
                <a16:creationId xmlns:a16="http://schemas.microsoft.com/office/drawing/2014/main" id="{F05CE6D0-53F8-4866-BBE8-08E714873ED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040188" y="1862138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E522475-71F8-462C-9824-D1F6EABC5A99}" type="datetime'''3''''''''''''''''6.''9'''''''''''''''''''''''''''''''''''''">
              <a:rPr lang="fr-FR" altLang="en-US" sz="1000" smtClean="0"/>
              <a:pPr/>
              <a:t>36.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46B3103C-B011-4050-9308-7682C2786A9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149600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CCB1818-59F8-4B8F-B15B-27A57DDF5B6A}" type="datetime'''''''''2''''''''''''''''''''''''''''''0''''''23'">
              <a:rPr lang="fr-FR" altLang="en-US" sz="1000" smtClean="0">
                <a:latin typeface="+mn-lt"/>
                <a:sym typeface="+mn-lt"/>
              </a:rPr>
              <a:pPr/>
              <a:t>2023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20ABFB18-92B3-4581-849D-D6C5F42002D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76250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D2797A6-7E92-4661-88C9-7B8BB5C872F7}" type="datetime'''2''''''''''0''''''''17'''''''''''''''''">
              <a:rPr lang="fr-FR" altLang="en-US" sz="1000" smtClean="0">
                <a:latin typeface="+mn-lt"/>
                <a:sym typeface="+mn-lt"/>
              </a:rPr>
              <a:pPr/>
              <a:t>2017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8FD9938C-F978-46AE-BB3A-EDEDFF7FD70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22338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59BBFB1-7FFF-4605-926A-C89B2D21CC56}" type="datetime'''''''''''''''''''''''''''2''''''0''''''18'''''''''''''''">
              <a:rPr lang="fr-FR" altLang="en-US" sz="1000" smtClean="0">
                <a:latin typeface="+mn-lt"/>
                <a:sym typeface="+mn-lt"/>
              </a:rPr>
              <a:pPr/>
              <a:t>2018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3" name="Espace réservé du texte 2">
            <a:extLst>
              <a:ext uri="{FF2B5EF4-FFF2-40B4-BE49-F238E27FC236}">
                <a16:creationId xmlns:a16="http://schemas.microsoft.com/office/drawing/2014/main" id="{19BD0584-735D-43A7-B72F-9CD40765384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149600" y="2030413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A441B7E-FC53-4A19-A5C9-E583834CD724}" type="datetime'''''''''3''''''''''''''''''4''''''''''.1'''''''">
              <a:rPr lang="fr-FR" altLang="en-US" sz="1000" smtClean="0"/>
              <a:pPr/>
              <a:t>34.1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5656A40E-94D2-4D19-9FCB-B644FC3F1A5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703513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FCED9CF-7853-4E0A-A6AA-86982676BB20}" type="datetime'''2''''''''''''''''''''0''''''''''''''''''2''2'''''''''">
              <a:rPr lang="fr-FR" altLang="en-US" sz="1000" smtClean="0">
                <a:latin typeface="+mn-lt"/>
                <a:sym typeface="+mn-lt"/>
              </a:rPr>
              <a:pPr/>
              <a:t>2022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7" name="Espace réservé du texte 2">
            <a:extLst>
              <a:ext uri="{FF2B5EF4-FFF2-40B4-BE49-F238E27FC236}">
                <a16:creationId xmlns:a16="http://schemas.microsoft.com/office/drawing/2014/main" id="{6D559518-E8C1-46B8-9B52-9036FEE0B55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595688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3D46F5B-6E1E-4780-ABE9-AA68649CC542}" type="datetime'2''''0''''''''''''''''''''''''''24'''''''''''">
              <a:rPr lang="fr-FR" altLang="en-US" sz="1000" smtClean="0">
                <a:latin typeface="+mn-lt"/>
                <a:sym typeface="+mn-lt"/>
              </a:rPr>
              <a:pPr/>
              <a:t>2024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A9A0C130-CA17-448C-B406-947373E7697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812925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F5D9284-4ED2-45E4-8D27-96A0FB0EC0E5}" type="datetime'''''''''''2''''''0''''''2''''''''0'''''''''''''''">
              <a:rPr lang="fr-FR" altLang="en-US" sz="1000" smtClean="0">
                <a:latin typeface="+mn-lt"/>
                <a:sym typeface="+mn-lt"/>
              </a:rPr>
              <a:pPr/>
              <a:t>2020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24DBBEC1-2EBC-4025-BAED-993C2FA9EB1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66838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D6FE64A-A691-4C87-8136-D99646A4A2DA}" type="datetime'''''''''2''''''''''''''''''0''''''1''''''9'''''''''''">
              <a:rPr lang="fr-FR" altLang="en-US" sz="1000" smtClean="0">
                <a:latin typeface="+mn-lt"/>
                <a:sym typeface="+mn-lt"/>
              </a:rPr>
              <a:pPr/>
              <a:t>2019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FDD0A22E-D044-4738-A846-D69DD4EC1C7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259013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B7B7909-9B8B-4310-9085-E21499BFCA43}" type="datetime'''2''''''''0''''''''''''''21'''''''''''''">
              <a:rPr lang="fr-FR" altLang="en-US" sz="1000" smtClean="0">
                <a:latin typeface="+mn-lt"/>
                <a:sym typeface="+mn-lt"/>
              </a:rPr>
              <a:pPr/>
              <a:t>2021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48" name="Espace réservé du texte 2">
            <a:extLst>
              <a:ext uri="{FF2B5EF4-FFF2-40B4-BE49-F238E27FC236}">
                <a16:creationId xmlns:a16="http://schemas.microsoft.com/office/drawing/2014/main" id="{8C66A17F-8A18-4E0C-B25E-892F3E969D94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040188" y="4321175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C7F6E70-20F3-4D0E-9E21-94EA963F4DD9}" type="datetime'''''''''''2''''''0''''''''''''''''''''2''''''''''''5'''">
              <a:rPr lang="fr-FR" altLang="en-US" sz="1000" smtClean="0">
                <a:latin typeface="+mn-lt"/>
                <a:sym typeface="+mn-lt"/>
              </a:rPr>
              <a:pPr/>
              <a:t>2025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0" name="Espace réservé du texte 2">
            <a:extLst>
              <a:ext uri="{FF2B5EF4-FFF2-40B4-BE49-F238E27FC236}">
                <a16:creationId xmlns:a16="http://schemas.microsoft.com/office/drawing/2014/main" id="{BD03CE83-5B80-4222-9DF4-8B8CDD6253F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812925" y="2159000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2F7E164-C58D-4E01-8B7A-8DFE8C3EC91F}" type="datetime'''''''32''''''''''''''''''''''''''''''''''''''''.''0'''''''''">
              <a:rPr lang="fr-FR" altLang="en-US" sz="1000" smtClean="0"/>
              <a:pPr/>
              <a:t>32.0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96" name="Espace réservé du texte 2">
            <a:extLst>
              <a:ext uri="{FF2B5EF4-FFF2-40B4-BE49-F238E27FC236}">
                <a16:creationId xmlns:a16="http://schemas.microsoft.com/office/drawing/2014/main" id="{96ACD372-FEF3-47D1-B300-A297F400E38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76250" y="1835150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5244296-78A0-474C-BCA9-145B9642B34B}" type="datetime'''''''''3''''''''7''''''''''''''''''''''''''.''''''''''3'''">
              <a:rPr lang="fr-FR" altLang="en-US" sz="1000" smtClean="0"/>
              <a:pPr/>
              <a:t>37.3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98" name="Espace réservé du texte 2">
            <a:extLst>
              <a:ext uri="{FF2B5EF4-FFF2-40B4-BE49-F238E27FC236}">
                <a16:creationId xmlns:a16="http://schemas.microsoft.com/office/drawing/2014/main" id="{1DE28F63-AB22-4CC0-A2FB-42770F0DA4C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922338" y="2066925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08679A0-6584-40AE-9AFD-758210CDBE44}" type="datetime'''3''''''''3''''''''''''''''''''''''.''''''''''''5'''">
              <a:rPr lang="fr-FR" altLang="en-US" sz="1000" smtClean="0"/>
              <a:pPr/>
              <a:t>33.5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99" name="Espace réservé du texte 2">
            <a:extLst>
              <a:ext uri="{FF2B5EF4-FFF2-40B4-BE49-F238E27FC236}">
                <a16:creationId xmlns:a16="http://schemas.microsoft.com/office/drawing/2014/main" id="{B7012B39-405B-48CB-AB07-FC31E3EAF9A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366838" y="2116138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98EC879-682D-44F6-BF89-1E7B0AED53CC}" type="datetime'''3''2''''''''''''''''''''.''''''''''''''''''7'''">
              <a:rPr lang="fr-FR" altLang="en-US" sz="1000" smtClean="0"/>
              <a:pPr/>
              <a:t>32.7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1" name="Espace réservé du texte 2">
            <a:extLst>
              <a:ext uri="{FF2B5EF4-FFF2-40B4-BE49-F238E27FC236}">
                <a16:creationId xmlns:a16="http://schemas.microsoft.com/office/drawing/2014/main" id="{DE44398E-CA7D-423C-B470-AEEC17B9CEF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259013" y="2122488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86025B8-D798-4EEC-BD61-FE17262B9117}" type="datetime'''''''''3''''''2''''''''''''''''''''''''''.6'''''">
              <a:rPr lang="fr-FR" altLang="en-US" sz="1000" smtClean="0"/>
              <a:pPr/>
              <a:t>32.6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2" name="Espace réservé du texte 2">
            <a:extLst>
              <a:ext uri="{FF2B5EF4-FFF2-40B4-BE49-F238E27FC236}">
                <a16:creationId xmlns:a16="http://schemas.microsoft.com/office/drawing/2014/main" id="{41BAEDB9-ABF1-40DF-B0EE-8DAE21411DC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703513" y="2087563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C0B417A-AFC3-4E43-A726-A910C7CEE830}" type="datetime'''''''''''3''''''''''''''''3''''''''''''.''''''''''2'''''">
              <a:rPr lang="fr-FR" altLang="en-US" sz="1000" smtClean="0"/>
              <a:pPr/>
              <a:t>33.2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104" name="Espace réservé du texte 2">
            <a:extLst>
              <a:ext uri="{FF2B5EF4-FFF2-40B4-BE49-F238E27FC236}">
                <a16:creationId xmlns:a16="http://schemas.microsoft.com/office/drawing/2014/main" id="{ACB2F137-2C20-476F-8A5F-CB5C1DB3BAB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595688" y="1962150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9346EF6-8CF1-4617-9B35-E0B2538A01C9}" type="datetime'''''''''''''3''''5''''.''''''''3'''''''''''''">
              <a:rPr lang="fr-FR" altLang="en-US" sz="1000" smtClean="0"/>
              <a:pPr/>
              <a:t>35.3</a:t>
            </a:fld>
            <a:endParaRPr lang="fr-FR" sz="1000" dirty="0">
              <a:latin typeface="+mn-lt"/>
              <a:sym typeface="+mn-lt"/>
            </a:endParaRPr>
          </a:p>
        </p:txBody>
      </p:sp>
      <p:sp>
        <p:nvSpPr>
          <p:cNvPr id="83" name="Espace réservé du texte 2">
            <a:extLst>
              <a:ext uri="{FF2B5EF4-FFF2-40B4-BE49-F238E27FC236}">
                <a16:creationId xmlns:a16="http://schemas.microsoft.com/office/drawing/2014/main" id="{B88B1108-0092-4AF0-9274-78C36552DF3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95375" y="1409700"/>
            <a:ext cx="377825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7124544-1179-4A35-820C-054C41CCAB81}" type="datetime'-''''5.''''0''''''''''''''''''''''''''''''''''''%'''''''''">
              <a:rPr lang="fr-FR" altLang="en-US" sz="800" b="1" smtClean="0">
                <a:effectLst/>
              </a:rPr>
              <a:pPr/>
              <a:t>-5.0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120" name="Espace réservé du texte 2">
            <a:extLst>
              <a:ext uri="{FF2B5EF4-FFF2-40B4-BE49-F238E27FC236}">
                <a16:creationId xmlns:a16="http://schemas.microsoft.com/office/drawing/2014/main" id="{ACC55E45-D91A-4E5A-B55D-CC1C31EE388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951038" y="1758950"/>
            <a:ext cx="409575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D8A8DEF-56E3-492D-8DE0-6F8232ABE818}" type="datetime'''''''''''''''''''''''''''''+''''''1''''''''''''''.8''%'''''''">
              <a:rPr lang="fr-FR" altLang="en-US" sz="800" b="1" smtClean="0">
                <a:effectLst/>
              </a:rPr>
              <a:pPr/>
              <a:t>+1.8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125" name="Espace réservé du texte 2">
            <a:extLst>
              <a:ext uri="{FF2B5EF4-FFF2-40B4-BE49-F238E27FC236}">
                <a16:creationId xmlns:a16="http://schemas.microsoft.com/office/drawing/2014/main" id="{D4489E23-9F70-4A58-BC89-401B9D993A8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435225" y="1724025"/>
            <a:ext cx="409575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F6A4899-A276-4E71-AB18-8D797BBF8FB5}" type="datetime'''''''''''''''''''''''''''''''''''''+''''''''''''1.''''''8%'">
              <a:rPr lang="fr-FR" altLang="en-US" sz="800" b="1" smtClean="0">
                <a:effectLst/>
              </a:rPr>
              <a:pPr/>
              <a:t>+1.8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93" name="Espace réservé du texte 2">
            <a:extLst>
              <a:ext uri="{FF2B5EF4-FFF2-40B4-BE49-F238E27FC236}">
                <a16:creationId xmlns:a16="http://schemas.microsoft.com/office/drawing/2014/main" id="{C7A85204-D779-4BC9-8681-F532B631821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860675" y="1422400"/>
            <a:ext cx="409575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72C39E9-1B44-4BC3-B297-71EB6EB5D944}" type="datetime'''+''''''''''''''2''''''''.9''''''''''''''''''''''''''''''''%'">
              <a:rPr lang="fr-FR" altLang="en-US" sz="800" b="1" smtClean="0">
                <a:effectLst/>
              </a:rPr>
              <a:pPr/>
              <a:t>+2.9%</a:t>
            </a:fld>
            <a:endParaRPr lang="fr-FR" sz="800" b="1" dirty="0">
              <a:latin typeface="+mn-lt"/>
              <a:sym typeface="+mn-lt"/>
            </a:endParaRPr>
          </a:p>
        </p:txBody>
      </p:sp>
      <p:sp>
        <p:nvSpPr>
          <p:cNvPr id="148" name="Title 1">
            <a:extLst>
              <a:ext uri="{FF2B5EF4-FFF2-40B4-BE49-F238E27FC236}">
                <a16:creationId xmlns:a16="http://schemas.microsoft.com/office/drawing/2014/main" id="{166C2580-7BC9-484F-8D0C-7A9FD06E5F01}"/>
              </a:ext>
            </a:extLst>
          </p:cNvPr>
          <p:cNvSpPr txBox="1">
            <a:spLocks/>
          </p:cNvSpPr>
          <p:nvPr/>
        </p:nvSpPr>
        <p:spPr>
          <a:xfrm>
            <a:off x="167780" y="147600"/>
            <a:ext cx="9537820" cy="25721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9pPr>
          </a:lstStyle>
          <a:p>
            <a:r>
              <a:rPr lang="fr-FR" kern="0" dirty="0"/>
              <a:t>Risk </a:t>
            </a:r>
            <a:r>
              <a:rPr lang="fr-FR" kern="0" dirty="0" err="1"/>
              <a:t>bnl</a:t>
            </a:r>
            <a:endParaRPr lang="fr-FR" kern="0" dirty="0"/>
          </a:p>
          <a:p>
            <a:endParaRPr lang="fr-FR" kern="0" dirty="0"/>
          </a:p>
          <a:p>
            <a:endParaRPr lang="fr-FR" kern="0" dirty="0"/>
          </a:p>
        </p:txBody>
      </p:sp>
    </p:spTree>
    <p:extLst>
      <p:ext uri="{BB962C8B-B14F-4D97-AF65-F5344CB8AC3E}">
        <p14:creationId xmlns:p14="http://schemas.microsoft.com/office/powerpoint/2010/main" val="322815931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VOqDnN2jpfo73dwSJnk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71zRErj6SuIcSlHOrMw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Z0rq6n4u_LF6jNrgySH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MEaS_9oucPFpC9XxCQK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ZITY8ZrtxQ_eruUnNce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9pN8d9Cvkl6Pqt.2Apn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t1kEEyQJ87KoxGTmkb4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3tJm7DmuHTVTR2cHjIP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sbD.ZahoCbs29C1Jg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7D4B2E.WAMr6vLWXP9Q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eyHWOiBlPAz.0VK6uOp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9NbipLkAiUAVyjAHdmh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BeYCwuSbIn.QFDQREVX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qvKrOonIV9FRR3rEVzf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l3Dlfw4zh5kn4zo3t7.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HKyuu4rC1wLHG7m7.L1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chNGl72uoTDfgXl_pwi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X2LHThsmiEe8yOo3V1T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rV2BBI9dP.m38OKD04u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YfggmlNaqEkdxdHUAWq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vlCvQld7Zb_GYFz_zPU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NHBYC91ODlqUE0Iz2DM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GPMjySAclGJAc0eiN4P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ku7vTE7jTqdl_e9pESg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o.8WN3_CSdfospFTaG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f8eLQQ99v2urB9lmq1Z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kDYMJIS6vAbBCkaIxir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vjw_Mp7hpdpV32Mgfdk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71zRErj6SuIcSlHOrM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7VjljOnL987KYuVp3L0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YfiWDeQpEzGYZxqJplX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7eP8qq775KHxHZ2gxER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7Vq8gP5fDXN6MIYMCgc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eprtfyXI9eq_gOFriFg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KxV8aL4iBPax_G0kssi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RrHVpeJoqCsknPpEiKy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M_97W4SwrmqF4lhmDg4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lfQvikv01SLfHZW1Ro4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Rk4IT387e6CdEhV_UZ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ndTlOnCrV80Uf4Q9InAeW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xL.kxucsZJ4763BRcZ0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_9UWq5FuxSOJIN.1gfz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dQorZgi3K99B40ggiTY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DaO2tpzhl4UAJvHwXdl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jz6MRxjjLJ4zhXyYsSt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pvOSWlyqfgSc8GsT1qm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CSCRN8qwc4m.0Pmz0lT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eeYrXyLQaEpLPlSc7Jv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SrbWUVVlYiziRgjNtkm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GUfZB0XNENWT7w1Jr5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CUPwE80Qp9AR2MAHuGBJ2s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FmQJoTshnOYoOyZNfI4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0brumdQEpGRli3sqWn.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Z0rq6n4u_LF6jNrgySH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E8tA0owMlHDEiBkfEV4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i62ykW_TwWNEmHkaRLb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7Os9RTs07Rlas34dae4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eoPXb21VpuKZCTa5L2.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OFHNulhMYh_dnESRTzp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25q0nOudT9D6wAE2eG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CUPwE80Qp9AR2MAHuGBJ2s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sURUX6nrtDXNbDXa2yh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XRYEK8_elV3tiGDt51L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YEJUkYLhqxE4jFkyapJ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N3Kh3i06K4r6QX5EQ23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4IT3LXVMIx.PbIBxTcl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OB.sbGmtfdi7q51Z6fU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TeNG08HduSAhM4wdFrj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j3C5RqbIKlI4CBvkhg0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WE9I9bEks9y2797ntbP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WyP5yVKouI2N7YA_bW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_anWlIiqZi2xvOgNswE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jFzjIXBQPjO.93bfm00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1tcqKHITQ4Zn5Bt9Pv.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A7vvBvZi20rVEUa0mHa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ki202LAPlIQFqdG5UBE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iWqQVyAvKeq5gSCRKp8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jQy5q.O5dn5CUGD0qFi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x2JSLLBT38PLGZhZwbB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pPtYV6RP3HkeI4dFnBV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HoxF0ypuIXOVH_8CxiH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Z0rq6n4u_LF6jNrgySH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ajoJYZ5WbNh8HJJ2vJW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Z0rq6n4u_LF6jNrgySH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25q0nOudT9D6wAE2eGi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gLxl883kCnkQrewP52g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TnD7XIS2GEj2iJHYVpG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7Os9RTs07Rlas34dae4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vMkV9GaeMuzD93K8LMO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jw3OlqrNj_W1cEDdTOH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eoPXb21VpuKZCTa5L2.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qvKrOonIV9FRR3rEVzf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i62ykW_TwWNEmHkaRLb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OFHNulhMYh_dnESRTzp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LJbfP3FCobzvyc4f9JC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S.7jMCN9kUMuiizh4rk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sURUX6nrtDXNbDXa2yh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E8tA0owMlHDEiBkfEV4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XRYEK8_elV3tiGDt51L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m.1JN5AuuZ0Y_ItMMLg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GhnUVcjBcbdYUP2xNt6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gyRtr.Sk3z2GBF_GfT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7D4B2E.WAMr6vLWXP9Q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PO.DbPgyJKo7DQq2mqM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x8dAAlXack7CCLtIPsE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Kuf0pvNnINBTISX0uW8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fJlUd4OLRbZGPgmlFbI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cV2DvgnHAMWSr9YHvGH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7RfRmz3sReXNIixDS4k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fztDo6wnCywzeS5HNtQ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cuxE8c4lkNCsU0pFXok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irgSRJpBImW5bVAjzDr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zKskgbwCmROOm1raD6d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9NbipLkAiUAVyjAHdmh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RvEBgPcPiFDnKviUX.0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xJcDI1pEqbl9JBSTOUn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SvHk_LxIvwEgAINZLor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8K0QStLBNe9SCzJPRib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A9pMywfqAnhS2HHnGwb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wBnvI..lPNzxewHXxjs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H_fNQLNVpLzz0hZ99UC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WyP5yVKouI2N7YA_bWj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61vZjCBNECvRdgEHO6_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tmEMJbNON58AuLTC_Q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MEaS_9oucPFpC9XxCQK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EHiJuIsk5CaSXrg23rE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pu60LkBhMIpFCm.BhxA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W4agSrdjIro4_A1s.7N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0Kf6ZbDVOtx5.o09aYy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jQy5q.O5dn5CUGD0qFi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j3C5RqbIKlI4CBvkhg0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3.G9pkcQM_VqS.SS9tX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3g_3nP4.qQ8Wf7f8pyF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KyY6VRfkAiUt1LDNXY0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fYdTh48RjV._.EqHAb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l3Dlfw4zh5kn4zo3t7.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Jm76m87jGHxurVvZlFn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Iy1NV.jHItFREW2gaKD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m9lGW0qnt6YDcgBiKka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Jd2J38mcotMEH5JZZda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467F0QUuCdEB0IKMGSh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Sj9DwPDME_yzGRAcYCy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eqDjdLOsZUMx5OfnT97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FiNsg4ecARoThi._9wy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KkpdwcMrtMEsb7zahyK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iy.cj0he9TYvYZHOu5H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9pN8d9Cvkl6Pqt.2Apn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OB.sbGmtfdi7q51Z6fU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rHbnQkXn7jzwX7_V30M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HennGvLCJ4wxtS.aNcX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Dy2gok4w0gspTu9OIdL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IYbjBioNBePPJrg4_Pm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_anWlIiqZi2xvOgNswE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N3Kh3i06K4r6QX5EQ23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RsVjQOLbpUsNK7LHJP2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jFzjIXBQPjO.93bfm00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XCrq5micI1a3Ulb9xm.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eyHWOiBlPAz.0VK6uOp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7bxYZkFmLl6f_iX7Lgq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A7vvBvZi20rVEUa0mHa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ftusS5QvI0XiOv2ku9J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6Db0El_Wj3ARiFaSlFE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LLDAEt4IVHWTYR_9h8z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HoxF0ypuIXOVH_8CxiH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EQu026.vumwEEPmVo3B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V9Ym42QQBZ5Ycz2aycS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pPtYV6RP3HkeI4dFnBV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t1kEEyQJ87KoxGTmkb4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Z0rq6n4u_LF6jNrgySH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sURUX6nrtDXNbDXa2yh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E8tA0owMlHDEiBkfEV4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XRYEK8_elV3tiGDt51L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GhnUVcjBcbdYUP2xNt6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gLxl883kCnkQrewP52g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i62ykW_TwWNEmHkaRLb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jw3OlqrNj_W1cEDdTOH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7Os9RTs07Rlas34dae4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OFHNulhMYh_dnESRTz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sbD.ZahoCbs29C1Jgx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25q0nOudT9D6wAE2eGi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eoPXb21VpuKZCTa5L2.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vMkV9GaeMuzD93K8LMO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LJbfP3FCobzvyc4f9JC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S.7jMCN9kUMuiizh4rk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m.1JN5AuuZ0Y_ItMMLg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gyRtr.Sk3z2GBF_GfTU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PO.DbPgyJKo7DQq2mqM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x8dAAlXack7CCLtIPsE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Kuf0pvNnINBTISX0uW8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ZITY8ZrtxQ_eruUnNce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fJlUd4OLRbZGPgmlFbI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cV2DvgnHAMWSr9YHvGH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TnD7XIS2GEj2iJHYVpG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M2ad_d9CfRFhuv7cFRr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SvHk_LxIvwEgAINZLor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zKskgbwCmROOm1raD6d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irgSRJpBImW5bVAjzDr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cuxE8c4lkNCsU0pFXok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xJcDI1pEqbl9JBSTOUn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RvEBgPcPiFDnKviUX.0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BeYCwuSbIn.QFDQREVX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RsVjQOLbpUsNK7LHJP2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LLDAEt4IVHWTYR_9h8z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jFzjIXBQPjO.93bfm00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WyP5yVKouI2N7YA_bWj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7bxYZkFmLl6f_iX7Lgq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Dy2gok4w0gspTu9OIdL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pPtYV6RP3HkeI4dFnBV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H_fNQLNVpLzz0hZ99UC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61vZjCBNECvRdgEHO6_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tmEMJbNON58AuLTC_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8QEib_w_.uOpNMK19F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3tJm7DmuHTVTR2cHjIP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CMFBDhFwUlMOtHCt64f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XCrq5micI1a3Ulb9xm.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rHbnQkXn7jzwX7_V30M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yI5r9f4K8dz3WrDK_78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3.G9pkcQM_VqS.SS9tX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IYbjBioNBePPJrg4_Pm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W4agSrdjIro4_A1s.7N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KyY6VRfkAiUt1LDNXY0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GwSrbfx.G6sVnAUqmzG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iy.cj0he9TYvYZHOu5H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hubDN6az.4JA5kg3wGR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fYdTh48RjV._.EqHAb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Jm76m87jGHxurVvZlFn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Jd2J38mcotMEH5JZZda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Sj9DwPDME_yzGRAcYCy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Ab6Fes9y_DgDzAFCCkp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ZYF7Y4.LrOqfXJy0qBb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3g_3nP4.qQ8Wf7f8pyF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EHiJuIsk5CaSXrg23rE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8K0QStLBNe9SCzJPRib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A9pMywfqAnhS2HHnGw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X2LHThsmiEe8yOo3V1T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ftusS5QvI0XiOv2ku9J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eqDjdLOsZUMx5OfnT97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KT2NrGUUb0XBJZMZX0b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pu60LkBhMIpFCm.BhxA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H.McJLHXgFB4J5zmPRa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m9lGW0qnt6YDcgBiKka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wBnvI..lPNzxewHXxjs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jQy5q.O5dn5CUGD0qFi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467F0QUuCdEB0IKMGSh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SLNPZy8qd6hKv9py.Jf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rV2BBI9dP.m38OKD04u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wUOXb6.o65tV2blqpnc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ihEoatZwdLy1J8xLjWh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A7vvBvZi20rVEUa0mHa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OB.sbGmtfdi7q51Z6fU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j3C5RqbIKlI4CBvkhg0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FiNsg4ecARoThi._9wy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HennGvLCJ4wxtS.aNcX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KkpdwcMrtMEsb7zahyK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Iy1NV.jHItFREW2gaKD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6Db0El_Wj3ARiFaSlFE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vlCvQld7Zb_GYFz_zPU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mXAkPE4Go1e1s.Wl2GL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_anWlIiqZi2xvOgNswE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0Kf6ZbDVOtx5.o09aYy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N3Kh3i06K4r6QX5EQ23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G.ljFabk5Fi3EL1W2Vx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nuN0ax3McQYvRi760f7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m4YOP0JdmnihKSLwsvb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E0MbaSG8p2TVOVmRiRT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Z0rq6n4u_LF6jNrgySH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NHBYC91ODlqUE0Iz2DM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BeYCwuSbIn.QFDQREVX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9NbipLkAiUAVyjAHdmh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9pN8d9Cvkl6Pqt.2Apn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ZITY8ZrtxQ_eruUnNce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7D4B2E.WAMr6vLWXP9Q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sbD.ZahoCbs29C1Jgx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t1kEEyQJ87KoxGTmkb4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l3Dlfw4zh5kn4zo3t7.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eyHWOiBlPAz.0VK6uOp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MEaS_9oucPFpC9XxCQ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GPMjySAclGJAc0eiN4P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3tJm7DmuHTVTR2cHjIP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qvKrOonIV9FRR3rEVzf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cZZ0Y7pWDvFMb0SeMkd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GPMjySAclGJAc0eiN4P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chNGl72uoTDfgXl_pwi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vlCvQld7Zb_GYFz_zPU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ku7vTE7jTqdl_e9pESg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NHBYC91ODlqUE0Iz2DM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X2LHThsmiEe8yOo3V1T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YfggmlNaqEkdxdHUAWq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chNGl72uoTDfgXl_pwi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o.8WN3_CSdfospFTaG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rV2BBI9dP.m38OKD04u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71zRErj6SuIcSlHOrMw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RrHVpeJoqCsknPpEiKy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7VjljOnL987KYuVp3L0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SrbWUVVlYiziRgjNtkm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GUfZB0XNENWT7w1Jr5z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FmQJoTshnOYoOyZNfI4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eeYrXyLQaEpLPlSc7Jv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lfQvikv01SLfHZW1Ro4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YfggmlNaqEkdxdHUAWq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f8eLQQ99v2urB9lmq1Z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M_97W4SwrmqF4lhmDg4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xL.kxucsZJ4763BRcZ0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7eP8qq775KHxHZ2gxER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_9UWq5FuxSOJIN.1gfz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eprtfyXI9eq_gOFriFg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vjw_Mp7hpdpV32Mgfdk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Rk4IT387e6CdEhV_UZj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jz6MRxjjLJ4zhXyYsSt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CSCRN8qwc4m.0Pmz0lT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ku7vTE7jTqdl_e9pESg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dQorZgi3K99B40ggiTY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7Vq8gP5fDXN6MIYMCgc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pvOSWlyqfgSc8GsT1qm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kDYMJIS6vAbBCkaIxir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tvnx5z96fcwW1eAxYRD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cSlyzYeHAm5_1KIwHsO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Ze22a_OB50bMMbFDHv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DaO2tpzhl4UAJvHwXdl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39L1709LNtyETJQOf_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o.8WN3_CSdfospFTaG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hQR9GQuEE9NF6wFS9Om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XV09znjXewlL0Pk_Wup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2MM4_KRAkZjNsx1u.Nj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H9uSNZxg0aOsbt9zON5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N7OAgupZomdu0QwdQoT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VExKGidqd2H.fjN0BcG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9qEfoeSDtm5Hl2CT3h0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GVwB6nq8ENLDotzpcZw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hWiTqXzbQsTl3ZymS5R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76NudP7v7KysWFmlm6p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dQorZgi3K99B40ggiTY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5VZNxud4Fn1wJptfD5j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GDL7UdkEzEY6Anp0mqR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jjxPTFyAZ4rayUnHtBU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rpMQfSLe9vlK46m3dry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lPaXiZQTAStT1359X7W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.ska9oCgrdgEuoQrNQs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1J67JPZMewdEcCRyFN5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XtZatOhZoGWgvjoGpC3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s1gXJpeXUztMdSrf1ii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zEdWTigIvJNCClzgMz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eprtfyXI9eq_gOFriFg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8WJ29gIGSmtHY6sAYub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Qcf6JQKOJ32VFtgLKP.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sW6pr8UsMfa_R8pKa1W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2ejQPuCyvr9iUydIuQQ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G0NqwePy9vLq5GU6EAK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jhkufgn8RJwYpM2U4mP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2E_ocA62luhPjnustBQ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aOuxP83RtMadQAX.EGi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tgioWlvommse_ycEvTH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6AkkEMec19L5NO6VYTw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GUfZB0XNENWT7w1Jr5z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rzIUkDrFi58BekO5zox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39L1709LNtyETJQOf_8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wZgnfWGVVc1cM4XHLuG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XV09znjXewlL0Pk_Wup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N7OAgupZomdu0QwdQoT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H9uSNZxg0aOsbt9zON5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2MM4_KRAkZjNsx1u.Nj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VExKGidqd2H.fjN0BcG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9qEfoeSDtm5Hl2CT3h0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eeYrXyLQaEpLPlSc7Jv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GVwB6nq8ENLDotzpcZw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hWiTqXzbQsTl3ZymS5R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2E_ocA62luhPjnustBQ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XtZatOhZoGWgvjoGpC3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jjxPTFyAZ4rayUnHtBU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rpMQfSLe9vlK46m3dry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G0NqwePy9vLq5GU6EAK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.ska9oCgrdgEuoQrNQs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1J67JPZMewdEcCRyFN5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lPaXiZQTAStT1359X7W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kDYMJIS6vAbBCkaIxir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GDL7UdkEzEY6Anp0mqR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5VZNxud4Fn1wJptfD5j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zEdWTigIvJNCClzgMzs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76NudP7v7KysWFmlm6p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s1gXJpeXUztMdSrf1ii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8WJ29gIGSmtHY6sAYub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Qcf6JQKOJ32VFtgLKP.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sW6pr8UsMfa_R8pKa1W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2ejQPuCyvr9iUydIuQQ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jhkufgn8RJwYpM2U4mP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xL.kxucsZJ4763BRcZ0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aOuxP83RtMadQAX.EGi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tgioWlvommse_ycEvTH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6AkkEMec19L5NO6VYTw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rzIUkDrFi58BekO5zox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39L1709LNtyETJQOf_8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jfQdV6gVVwr9U2yzecU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XV09znjXewlL0Pk_Wup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2MM4_KRAkZjNsx1u.Nj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H9uSNZxg0aOsbt9zON5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vjw_Mp7hpdpV32Mgfdk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N7OAgupZomdu0QwdQoT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VExKGidqd2H.fjN0BcG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9qEfoeSDtm5Hl2CT3h0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GVwB6nq8ENLDotzpcZw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hWiTqXzbQsTl3ZymS5R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5VZNxud4Fn1wJptfD5j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jhkufgn8RJwYpM2U4mP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lPaXiZQTAStT1359X7W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GDL7UdkEzEY6Anp0mqR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jjxPTFyAZ4rayUnHtB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71zRErj6SuIcSlHOrMw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rpMQfSLe9vlK46m3dry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.ska9oCgrdgEuoQrNQs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XtZatOhZoGWgvjoGpC3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1J67JPZMewdEcCRyFN5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zEdWTigIvJNCClzgMzs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2E_ocA62luhPjnustBQ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Qcf6JQKOJ32VFtgLKP.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s1gXJpeXUztMdSrf1iiA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8WJ29gIGSmtHY6sAYub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76NudP7v7KysWFmlm6p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7Vq8gP5fDXN6MIYMCgc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sW6pr8UsMfa_R8pKa1W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2ejQPuCyvr9iUydIuQQ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G0NqwePy9vLq5GU6EAK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aOuxP83RtMadQAX.EGi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tgioWlvommse_ycEvTH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6AkkEMec19L5NO6VYTw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rzIUkDrFi58BekO5zox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39L1709LNtyETJQOf_8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htyaPOHMV8E9YRVJyI1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lfQvikv01SLfHZW1Ro4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XV09znjXewlL0Pk_Wup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2MM4_KRAkZjNsx1u.Nj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H9uSNZxg0aOsbt9zON5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N7OAgupZomdu0QwdQoT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VExKGidqd2H.fjN0BcG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9qEfoeSDtm5Hl2CT3h0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GVwB6nq8ENLDotzpcZw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hWiTqXzbQsTl3ZymS5R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lPaXiZQTAStT1359X7W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1J67JPZMewdEcCRyFN5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DaO2tpzhl4UAJvHwXdl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XtZatOhZoGWgvjoGpC3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Qcf6JQKOJ32VFtgLKP.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jjxPTFyAZ4rayUnHtBU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rpMQfSLe9vlK46m3dry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GDL7UdkEzEY6Anp0mqR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G0NqwePy9vLq5GU6EAK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5VZNxud4Fn1wJptfD5j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.ska9oCgrdgEuoQrNQs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zEdWTigIvJNCClzgMzs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s1gXJpeXUztMdSrf1ii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RrHVpeJoqCsknPpEiKyQ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8WJ29gIGSmtHY6sAYub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76NudP7v7KysWFmlm6p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sW6pr8UsMfa_R8pKa1W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2ejQPuCyvr9iUydIuQQ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jhkufgn8RJwYpM2U4mP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2E_ocA62luhPjnustBQw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aOuxP83RtMadQAX.EGi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tgioWlvommse_ycEvTH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6AkkEMec19L5NO6VYTwg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rzIUkDrFi58BekO5zo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f8eLQQ99v2urB9lmq1Z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39L1709LNtyETJQOf_8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YL8csYWGCzLwK9vX5a5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XV09znjXewlL0Pk_Wup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H9uSNZxg0aOsbt9zON5g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2MM4_KRAkZjNsx1u.Nj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N7OAgupZomdu0QwdQoT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VExKGidqd2H.fjN0BcG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9qEfoeSDtm5Hl2CT3h0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GVwB6nq8ENLDotzpcZw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7VjljOnL987KYuVp3L0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hWiTqXzbQsTl3ZymS5R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s1gXJpeXUztMdSrf1ii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GDL7UdkEzEY6Anp0mqR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1J67JPZMewdEcCRyFN5w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zEdWTigIvJNCClzgMzs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rpMQfSLe9vlK46m3dry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jjxPTFyAZ4rayUnHtBUA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5VZNxud4Fn1wJptfD5j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lPaXiZQTAStT1359X7WQ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XtZatOhZoGWgvjoGpC3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7eP8qq775KHxHZ2gxER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.ska9oCgrdgEuoQrNQs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sW6pr8UsMfa_R8pKa1W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76NudP7v7KysWFmlm6p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G0NqwePy9vLq5GU6EAK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2ejQPuCyvr9iUydIuQQw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8WJ29gIGSmtHY6sAYub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Qcf6JQKOJ32VFtgLKP.A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jhkufgn8RJwYpM2U4mP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2E_ocA62luhPjnustBQw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aOuxP83RtMadQAX.EGi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M_97W4SwrmqF4lhmDg4Q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tgioWlvommse_ycEvTH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6AkkEMec19L5NO6VYTwg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rzIUkDrFi58BekO5zoxw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39L1709LNtyETJQOf_8g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w1gy7i9K7o.x1hs7eYLA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XV09znjXewlL0Pk_Wup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2MM4_KRAkZjNsx1u.Nj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H9uSNZxg0aOsbt9zON5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N7OAgupZomdu0QwdQoT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_9UWq5FuxSOJIN.1gfzw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VExKGidqd2H.fjN0BcG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9qEfoeSDtm5Hl2CT3h0A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GVwB6nq8ENLDotzpcZw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hWiTqXzbQsTl3ZymS5Rw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jjxPTFyAZ4rayUnHtBU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rpMQfSLe9vlK46m3dry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76NudP7v7KysWFmlm6p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XtZatOhZoGWgvjoGpC3A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s1gXJpeXUztMdSrf1ii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.ska9oCgrdgEuoQrNQs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SrbWUVVlYiziRgjNtkmg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GDL7UdkEzEY6Anp0mqR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1J67JPZMewdEcCRyFN5w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lPaXiZQTAStT1359X7W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5VZNxud4Fn1wJptfD5jQ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zEdWTigIvJNCClzgMzsQ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G0NqwePy9vLq5GU6EAK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2ejQPuCyvr9iUydIuQQw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8WJ29gIGSmtHY6sAYub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Qcf6JQKOJ32VFtgLKP.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sW6pr8UsMfa_R8pKa1W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pvOSWlyqfgSc8GsT1qm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jhkufgn8RJwYpM2U4mPA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2E_ocA62luhPjnustBQw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aOuxP83RtMadQAX.EGi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tgioWlvommse_ycEvTH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6AkkEMec19L5NO6VYTw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rzIUkDrFi58BekO5zo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wsYPnyj3c5EfxP8sudoYE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4O6_Hu3EvVc4g62H91i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CSCRN8qwc4m.0Pmz0lT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.ulvB7SJFLEeZL9F2UA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jz6MRxjjLJ4zhXyYsSt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FmQJoTshnOYoOyZNfI4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rEsbNvvZ3RCoS5YjfE0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Rk4IT387e6CdEhV_UZj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Z0rq6n4u_LF6jNrgySH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9pN8d9Cvkl6Pqt.2Ap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MEaS_9oucPFpC9XxCQK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eyHWOiBlPAz.0VK6uOp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7D4B2E.WAMr6vLWXP9Q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sbD.ZahoCbs29C1Jgx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9NbipLkAiUAVyjAHdmh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t1kEEyQJ87KoxGTmkb4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ZITY8ZrtxQ_eruUnNce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lmVXuyf4f8G8NF76nex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X2LHThsmiEe8yOo3V1T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YfggmlNaqEkdxdHUAW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NHBYC91ODlqUE0Iz2DM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vlCvQld7Zb_GYFz_zPU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GPMjySAclGJAc0eiN4P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chNGl72uoTDfgXl_pwi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xL.kxucsZJ4763BRcZ0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7VjljOnL987KYuVp3L0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Rk4IT387e6CdEhV_UZj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dQorZgi3K99B40ggiT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eprtfyXI9eq_gOFriFg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eeYrXyLQaEpLPlSc7J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vjw_Mp7hpdpV32Mgfdk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7Vq8gP5fDXN6MIYMCgc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jz6MRxjjLJ4zhXyYsSt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CSCRN8qwc4m.0Pmz0lT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pvOSWlyqfgSc8GsT1qm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kDYMJIS6vAbBCkaIxir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SrbWUVVlYiziRgjNtkm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GUfZB0XNENWT7w1Jr5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FmQJoTshnOYoOyZNfI4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NtJ7ccpvgsq_81VL8eXA"/>
</p:tagLst>
</file>

<file path=ppt/theme/theme1.xml><?xml version="1.0" encoding="utf-8"?>
<a:theme xmlns:a="http://schemas.openxmlformats.org/drawingml/2006/main" name="Thème eleven V2.6">
  <a:themeElements>
    <a:clrScheme name="Eleven colors">
      <a:dk1>
        <a:srgbClr val="6C6C6C"/>
      </a:dk1>
      <a:lt1>
        <a:srgbClr val="FFFFFF"/>
      </a:lt1>
      <a:dk2>
        <a:srgbClr val="289B38"/>
      </a:dk2>
      <a:lt2>
        <a:srgbClr val="8FCD9F"/>
      </a:lt2>
      <a:accent1>
        <a:srgbClr val="00A3E2"/>
      </a:accent1>
      <a:accent2>
        <a:srgbClr val="ADD9FD"/>
      </a:accent2>
      <a:accent3>
        <a:srgbClr val="FB436A"/>
      </a:accent3>
      <a:accent4>
        <a:srgbClr val="E38C35"/>
      </a:accent4>
      <a:accent5>
        <a:srgbClr val="FFF58C"/>
      </a:accent5>
      <a:accent6>
        <a:srgbClr val="831B21"/>
      </a:accent6>
      <a:hlink>
        <a:srgbClr val="39A0DA"/>
      </a:hlink>
      <a:folHlink>
        <a:srgbClr val="646464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200" dirty="0" err="1" smtClean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ème eleven V2.6" id="{F1CD0668-0377-47E3-8A7E-994C188375EA}" vid="{7F8C0379-2CE3-47C7-AD58-647B34BA741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36D72E291A89749A1020ECAEBC5DEA9" ma:contentTypeVersion="7" ma:contentTypeDescription="Crée un document." ma:contentTypeScope="" ma:versionID="f99d540c8fe000137e3672be6f13780a">
  <xsd:schema xmlns:xsd="http://www.w3.org/2001/XMLSchema" xmlns:xs="http://www.w3.org/2001/XMLSchema" xmlns:p="http://schemas.microsoft.com/office/2006/metadata/properties" xmlns:ns2="2ed4a45d-0a7a-4a4c-a2e9-3c855633e740" xmlns:ns3="a46fb650-58a2-4a9d-8560-53d2df43fe90" targetNamespace="http://schemas.microsoft.com/office/2006/metadata/properties" ma:root="true" ma:fieldsID="55d9753f316c6c16cd96ade6a093b44d" ns2:_="" ns3:_="">
    <xsd:import namespace="2ed4a45d-0a7a-4a4c-a2e9-3c855633e740"/>
    <xsd:import namespace="a46fb650-58a2-4a9d-8560-53d2df43fe9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d4a45d-0a7a-4a4c-a2e9-3c855633e74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6fb650-58a2-4a9d-8560-53d2df43fe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7281E94-CB9C-419B-AAD0-2185C258591E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A6E8AF5F-6410-4DEF-B76E-7C41167968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d4a45d-0a7a-4a4c-a2e9-3c855633e740"/>
    <ds:schemaRef ds:uri="a46fb650-58a2-4a9d-8560-53d2df43fe9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C8798CB-6828-41C3-96CC-33ED7110696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00</TotalTime>
  <Words>379</Words>
  <Application>Microsoft Office PowerPoint</Application>
  <PresentationFormat>A4 Paper (210x297 mm)</PresentationFormat>
  <Paragraphs>363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Helvetica 65 Medium</vt:lpstr>
      <vt:lpstr>Monotype Sorts</vt:lpstr>
      <vt:lpstr>Trebuchet MS</vt:lpstr>
      <vt:lpstr>Thème eleven V2.6</vt:lpstr>
      <vt:lpstr>think-cell Slide</vt:lpstr>
      <vt:lpstr>FR</vt:lpstr>
      <vt:lpstr>Manageo </vt:lpstr>
      <vt:lpstr>BNL</vt:lpstr>
      <vt:lpstr>BNL V2</vt:lpstr>
      <vt:lpstr>Manageo V2</vt:lpstr>
      <vt:lpstr>Manageo V2</vt:lpstr>
      <vt:lpstr>D&amp;B pro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go MANTEL</dc:creator>
  <cp:lastModifiedBy>Ugo MANTEL</cp:lastModifiedBy>
  <cp:revision>1</cp:revision>
  <dcterms:created xsi:type="dcterms:W3CDTF">2020-09-14T11:14:32Z</dcterms:created>
  <dcterms:modified xsi:type="dcterms:W3CDTF">2020-12-18T08:43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6D72E291A89749A1020ECAEBC5DEA9</vt:lpwstr>
  </property>
</Properties>
</file>